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5" r:id="rId3"/>
    <p:sldMasterId id="2147483697" r:id="rId4"/>
    <p:sldMasterId id="2147483709" r:id="rId5"/>
  </p:sldMasterIdLst>
  <p:notesMasterIdLst>
    <p:notesMasterId r:id="rId16"/>
  </p:notesMasterIdLst>
  <p:sldIdLst>
    <p:sldId id="257" r:id="rId6"/>
    <p:sldId id="262" r:id="rId7"/>
    <p:sldId id="263" r:id="rId8"/>
    <p:sldId id="259" r:id="rId9"/>
    <p:sldId id="265" r:id="rId10"/>
    <p:sldId id="258" r:id="rId11"/>
    <p:sldId id="266" r:id="rId12"/>
    <p:sldId id="267" r:id="rId13"/>
    <p:sldId id="268" r:id="rId14"/>
    <p:sldId id="269"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 M Rahaman" userId="d5522254b8323d27" providerId="LiveId" clId="{FD9B0772-4A7B-4F41-BA42-93F45BDEAA6D}"/>
    <pc:docChg chg="undo redo custSel delSld modSld">
      <pc:chgData name="K M Rahaman" userId="d5522254b8323d27" providerId="LiveId" clId="{FD9B0772-4A7B-4F41-BA42-93F45BDEAA6D}" dt="2021-02-26T18:08:20.757" v="8089" actId="14100"/>
      <pc:docMkLst>
        <pc:docMk/>
      </pc:docMkLst>
      <pc:sldChg chg="addSp delSp modSp mod setBg">
        <pc:chgData name="K M Rahaman" userId="d5522254b8323d27" providerId="LiveId" clId="{FD9B0772-4A7B-4F41-BA42-93F45BDEAA6D}" dt="2021-02-22T07:56:21.301" v="340" actId="1076"/>
        <pc:sldMkLst>
          <pc:docMk/>
          <pc:sldMk cId="1669609687" sldId="257"/>
        </pc:sldMkLst>
        <pc:spChg chg="add del mod">
          <ac:chgData name="K M Rahaman" userId="d5522254b8323d27" providerId="LiveId" clId="{FD9B0772-4A7B-4F41-BA42-93F45BDEAA6D}" dt="2021-02-22T07:39:21.114" v="306" actId="1076"/>
          <ac:spMkLst>
            <pc:docMk/>
            <pc:sldMk cId="1669609687" sldId="257"/>
            <ac:spMk id="8" creationId="{E249C0BE-DA64-4358-845F-0DA8776B432B}"/>
          </ac:spMkLst>
        </pc:spChg>
        <pc:spChg chg="add del mod">
          <ac:chgData name="K M Rahaman" userId="d5522254b8323d27" providerId="LiveId" clId="{FD9B0772-4A7B-4F41-BA42-93F45BDEAA6D}" dt="2021-02-22T07:16:00.973" v="224" actId="21"/>
          <ac:spMkLst>
            <pc:docMk/>
            <pc:sldMk cId="1669609687" sldId="257"/>
            <ac:spMk id="12" creationId="{A3BC076A-F255-4C5A-BCBD-37EB6A43C6A3}"/>
          </ac:spMkLst>
        </pc:spChg>
        <pc:spChg chg="add del mod">
          <ac:chgData name="K M Rahaman" userId="d5522254b8323d27" providerId="LiveId" clId="{FD9B0772-4A7B-4F41-BA42-93F45BDEAA6D}" dt="2021-02-22T07:39:42.072" v="311" actId="21"/>
          <ac:spMkLst>
            <pc:docMk/>
            <pc:sldMk cId="1669609687" sldId="257"/>
            <ac:spMk id="16" creationId="{3D500661-E869-4207-84C5-D1CE763D59B2}"/>
          </ac:spMkLst>
        </pc:spChg>
        <pc:spChg chg="add del mod">
          <ac:chgData name="K M Rahaman" userId="d5522254b8323d27" providerId="LiveId" clId="{FD9B0772-4A7B-4F41-BA42-93F45BDEAA6D}" dt="2021-02-22T07:40:42.938" v="313" actId="767"/>
          <ac:spMkLst>
            <pc:docMk/>
            <pc:sldMk cId="1669609687" sldId="257"/>
            <ac:spMk id="21" creationId="{1EF6451B-62E8-4E62-A60B-7988670775E9}"/>
          </ac:spMkLst>
        </pc:spChg>
        <pc:spChg chg="add mod">
          <ac:chgData name="K M Rahaman" userId="d5522254b8323d27" providerId="LiveId" clId="{FD9B0772-4A7B-4F41-BA42-93F45BDEAA6D}" dt="2021-02-22T07:54:00.776" v="337" actId="14100"/>
          <ac:spMkLst>
            <pc:docMk/>
            <pc:sldMk cId="1669609687" sldId="257"/>
            <ac:spMk id="22" creationId="{FDDD9DA6-338D-4B30-A277-72BBA91F96CC}"/>
          </ac:spMkLst>
        </pc:spChg>
        <pc:spChg chg="add mod">
          <ac:chgData name="K M Rahaman" userId="d5522254b8323d27" providerId="LiveId" clId="{FD9B0772-4A7B-4F41-BA42-93F45BDEAA6D}" dt="2021-02-22T07:14:29.469" v="218" actId="571"/>
          <ac:spMkLst>
            <pc:docMk/>
            <pc:sldMk cId="1669609687" sldId="257"/>
            <ac:spMk id="83" creationId="{0AE4882D-A59D-4C46-8E4E-FF0FEE8F337F}"/>
          </ac:spMkLst>
        </pc:spChg>
        <pc:spChg chg="add mod">
          <ac:chgData name="K M Rahaman" userId="d5522254b8323d27" providerId="LiveId" clId="{FD9B0772-4A7B-4F41-BA42-93F45BDEAA6D}" dt="2021-02-22T07:26:20.168" v="270" actId="571"/>
          <ac:spMkLst>
            <pc:docMk/>
            <pc:sldMk cId="1669609687" sldId="257"/>
            <ac:spMk id="87" creationId="{E8B78A2F-8BC0-4604-A439-977C748C58A5}"/>
          </ac:spMkLst>
        </pc:spChg>
        <pc:spChg chg="add del mod">
          <ac:chgData name="K M Rahaman" userId="d5522254b8323d27" providerId="LiveId" clId="{FD9B0772-4A7B-4F41-BA42-93F45BDEAA6D}" dt="2021-02-22T07:38:18.033" v="293" actId="1076"/>
          <ac:spMkLst>
            <pc:docMk/>
            <pc:sldMk cId="1669609687" sldId="257"/>
            <ac:spMk id="95" creationId="{D1DB6AC5-19C4-4B6D-900E-DA45101F077A}"/>
          </ac:spMkLst>
        </pc:spChg>
        <pc:spChg chg="add del mod">
          <ac:chgData name="K M Rahaman" userId="d5522254b8323d27" providerId="LiveId" clId="{FD9B0772-4A7B-4F41-BA42-93F45BDEAA6D}" dt="2021-02-22T07:04:44.557" v="180" actId="21"/>
          <ac:spMkLst>
            <pc:docMk/>
            <pc:sldMk cId="1669609687" sldId="257"/>
            <ac:spMk id="100" creationId="{03FF6A9A-2AF0-4DDF-8672-EAEB41C273DB}"/>
          </ac:spMkLst>
        </pc:spChg>
        <pc:spChg chg="add del mod">
          <ac:chgData name="K M Rahaman" userId="d5522254b8323d27" providerId="LiveId" clId="{FD9B0772-4A7B-4F41-BA42-93F45BDEAA6D}" dt="2021-02-22T07:02:15.789" v="165" actId="21"/>
          <ac:spMkLst>
            <pc:docMk/>
            <pc:sldMk cId="1669609687" sldId="257"/>
            <ac:spMk id="102" creationId="{50339616-E833-43C3-9D19-5D259E69FB67}"/>
          </ac:spMkLst>
        </pc:spChg>
        <pc:spChg chg="del mod">
          <ac:chgData name="K M Rahaman" userId="d5522254b8323d27" providerId="LiveId" clId="{FD9B0772-4A7B-4F41-BA42-93F45BDEAA6D}" dt="2021-02-22T07:02:19.813" v="166" actId="21"/>
          <ac:spMkLst>
            <pc:docMk/>
            <pc:sldMk cId="1669609687" sldId="257"/>
            <ac:spMk id="104" creationId="{F4DDF85D-259C-4727-BE93-29A1A7D1F331}"/>
          </ac:spMkLst>
        </pc:spChg>
        <pc:spChg chg="del mod">
          <ac:chgData name="K M Rahaman" userId="d5522254b8323d27" providerId="LiveId" clId="{FD9B0772-4A7B-4F41-BA42-93F45BDEAA6D}" dt="2021-02-22T07:03:12.940" v="171" actId="21"/>
          <ac:spMkLst>
            <pc:docMk/>
            <pc:sldMk cId="1669609687" sldId="257"/>
            <ac:spMk id="105" creationId="{96ADB326-4B54-4BBB-AFA7-160C93897065}"/>
          </ac:spMkLst>
        </pc:spChg>
        <pc:spChg chg="del mod">
          <ac:chgData name="K M Rahaman" userId="d5522254b8323d27" providerId="LiveId" clId="{FD9B0772-4A7B-4F41-BA42-93F45BDEAA6D}" dt="2021-02-22T07:03:21.189" v="173" actId="21"/>
          <ac:spMkLst>
            <pc:docMk/>
            <pc:sldMk cId="1669609687" sldId="257"/>
            <ac:spMk id="106" creationId="{4EB78E59-A4BA-4F30-8785-845AA3599B96}"/>
          </ac:spMkLst>
        </pc:spChg>
        <pc:spChg chg="del mod">
          <ac:chgData name="K M Rahaman" userId="d5522254b8323d27" providerId="LiveId" clId="{FD9B0772-4A7B-4F41-BA42-93F45BDEAA6D}" dt="2021-02-22T07:02:07.363" v="163" actId="21"/>
          <ac:spMkLst>
            <pc:docMk/>
            <pc:sldMk cId="1669609687" sldId="257"/>
            <ac:spMk id="107" creationId="{BFA6F9E2-95F2-4D52-8FEC-B94F995CC450}"/>
          </ac:spMkLst>
        </pc:spChg>
        <pc:spChg chg="del mod">
          <ac:chgData name="K M Rahaman" userId="d5522254b8323d27" providerId="LiveId" clId="{FD9B0772-4A7B-4F41-BA42-93F45BDEAA6D}" dt="2021-02-22T07:02:10.704" v="164" actId="21"/>
          <ac:spMkLst>
            <pc:docMk/>
            <pc:sldMk cId="1669609687" sldId="257"/>
            <ac:spMk id="108" creationId="{82698669-DD78-4FB9-8873-E49C3AD6884B}"/>
          </ac:spMkLst>
        </pc:spChg>
        <pc:spChg chg="del mod">
          <ac:chgData name="K M Rahaman" userId="d5522254b8323d27" providerId="LiveId" clId="{FD9B0772-4A7B-4F41-BA42-93F45BDEAA6D}" dt="2021-02-22T07:02:02.319" v="162" actId="21"/>
          <ac:spMkLst>
            <pc:docMk/>
            <pc:sldMk cId="1669609687" sldId="257"/>
            <ac:spMk id="109" creationId="{030BC4A7-2045-4AB1-BF31-713C1085296B}"/>
          </ac:spMkLst>
        </pc:spChg>
        <pc:spChg chg="add del mod">
          <ac:chgData name="K M Rahaman" userId="d5522254b8323d27" providerId="LiveId" clId="{FD9B0772-4A7B-4F41-BA42-93F45BDEAA6D}" dt="2021-02-22T06:49:36.273" v="84" actId="21"/>
          <ac:spMkLst>
            <pc:docMk/>
            <pc:sldMk cId="1669609687" sldId="257"/>
            <ac:spMk id="149" creationId="{21C08789-1FE0-4C0B-A7F1-8EA6FF7064A4}"/>
          </ac:spMkLst>
        </pc:spChg>
        <pc:spChg chg="del mod">
          <ac:chgData name="K M Rahaman" userId="d5522254b8323d27" providerId="LiveId" clId="{FD9B0772-4A7B-4F41-BA42-93F45BDEAA6D}" dt="2021-02-22T06:47:47.766" v="42" actId="21"/>
          <ac:spMkLst>
            <pc:docMk/>
            <pc:sldMk cId="1669609687" sldId="257"/>
            <ac:spMk id="150" creationId="{A91DAAC5-ADEA-40A1-83FE-4996CD9D9BCF}"/>
          </ac:spMkLst>
        </pc:spChg>
        <pc:spChg chg="add del mod">
          <ac:chgData name="K M Rahaman" userId="d5522254b8323d27" providerId="LiveId" clId="{FD9B0772-4A7B-4F41-BA42-93F45BDEAA6D}" dt="2021-02-22T06:49:36.043" v="83" actId="21"/>
          <ac:spMkLst>
            <pc:docMk/>
            <pc:sldMk cId="1669609687" sldId="257"/>
            <ac:spMk id="152" creationId="{A8FDBE2D-A58E-44E3-9A5B-0A606E1DBDA4}"/>
          </ac:spMkLst>
        </pc:spChg>
        <pc:spChg chg="add del mod">
          <ac:chgData name="K M Rahaman" userId="d5522254b8323d27" providerId="LiveId" clId="{FD9B0772-4A7B-4F41-BA42-93F45BDEAA6D}" dt="2021-02-22T06:49:33.426" v="72" actId="21"/>
          <ac:spMkLst>
            <pc:docMk/>
            <pc:sldMk cId="1669609687" sldId="257"/>
            <ac:spMk id="153" creationId="{0FE44C17-1255-45ED-A516-D4C4E5BB40BF}"/>
          </ac:spMkLst>
        </pc:spChg>
        <pc:spChg chg="add del mod">
          <ac:chgData name="K M Rahaman" userId="d5522254b8323d27" providerId="LiveId" clId="{FD9B0772-4A7B-4F41-BA42-93F45BDEAA6D}" dt="2021-02-22T06:49:33.631" v="73" actId="21"/>
          <ac:spMkLst>
            <pc:docMk/>
            <pc:sldMk cId="1669609687" sldId="257"/>
            <ac:spMk id="154" creationId="{99545199-6613-497C-AD7C-8B9C2678F05F}"/>
          </ac:spMkLst>
        </pc:spChg>
        <pc:spChg chg="add del mod">
          <ac:chgData name="K M Rahaman" userId="d5522254b8323d27" providerId="LiveId" clId="{FD9B0772-4A7B-4F41-BA42-93F45BDEAA6D}" dt="2021-02-22T06:49:35.296" v="80" actId="21"/>
          <ac:spMkLst>
            <pc:docMk/>
            <pc:sldMk cId="1669609687" sldId="257"/>
            <ac:spMk id="155" creationId="{C1A2BB1D-DF73-42FA-B53D-762853E69385}"/>
          </ac:spMkLst>
        </pc:spChg>
        <pc:spChg chg="add del mod">
          <ac:chgData name="K M Rahaman" userId="d5522254b8323d27" providerId="LiveId" clId="{FD9B0772-4A7B-4F41-BA42-93F45BDEAA6D}" dt="2021-02-22T06:49:32.328" v="67" actId="21"/>
          <ac:spMkLst>
            <pc:docMk/>
            <pc:sldMk cId="1669609687" sldId="257"/>
            <ac:spMk id="157" creationId="{F11C4632-C5B2-440E-A1D5-1407E7090CA2}"/>
          </ac:spMkLst>
        </pc:spChg>
        <pc:spChg chg="mod">
          <ac:chgData name="K M Rahaman" userId="d5522254b8323d27" providerId="LiveId" clId="{FD9B0772-4A7B-4F41-BA42-93F45BDEAA6D}" dt="2021-02-22T06:45:47.334" v="34" actId="207"/>
          <ac:spMkLst>
            <pc:docMk/>
            <pc:sldMk cId="1669609687" sldId="257"/>
            <ac:spMk id="158" creationId="{572055F8-DF3C-4B4F-A527-9062B0C343B2}"/>
          </ac:spMkLst>
        </pc:spChg>
        <pc:spChg chg="add del mod">
          <ac:chgData name="K M Rahaman" userId="d5522254b8323d27" providerId="LiveId" clId="{FD9B0772-4A7B-4F41-BA42-93F45BDEAA6D}" dt="2021-02-22T06:49:32.052" v="66" actId="21"/>
          <ac:spMkLst>
            <pc:docMk/>
            <pc:sldMk cId="1669609687" sldId="257"/>
            <ac:spMk id="159" creationId="{5467F3D0-657F-40F5-9CDD-10743A1D52DD}"/>
          </ac:spMkLst>
        </pc:spChg>
        <pc:spChg chg="mod">
          <ac:chgData name="K M Rahaman" userId="d5522254b8323d27" providerId="LiveId" clId="{FD9B0772-4A7B-4F41-BA42-93F45BDEAA6D}" dt="2021-02-22T06:45:47.334" v="34" actId="207"/>
          <ac:spMkLst>
            <pc:docMk/>
            <pc:sldMk cId="1669609687" sldId="257"/>
            <ac:spMk id="160" creationId="{CCCB63A4-213F-47C3-BFE6-D0A750BC9DE4}"/>
          </ac:spMkLst>
        </pc:spChg>
        <pc:spChg chg="mod">
          <ac:chgData name="K M Rahaman" userId="d5522254b8323d27" providerId="LiveId" clId="{FD9B0772-4A7B-4F41-BA42-93F45BDEAA6D}" dt="2021-02-22T06:45:47.334" v="34" actId="207"/>
          <ac:spMkLst>
            <pc:docMk/>
            <pc:sldMk cId="1669609687" sldId="257"/>
            <ac:spMk id="161" creationId="{ED9DE8EA-FFBA-4A07-897E-A704DDF3DA1F}"/>
          </ac:spMkLst>
        </pc:spChg>
        <pc:spChg chg="mod">
          <ac:chgData name="K M Rahaman" userId="d5522254b8323d27" providerId="LiveId" clId="{FD9B0772-4A7B-4F41-BA42-93F45BDEAA6D}" dt="2021-02-22T06:45:47.334" v="34" actId="207"/>
          <ac:spMkLst>
            <pc:docMk/>
            <pc:sldMk cId="1669609687" sldId="257"/>
            <ac:spMk id="162" creationId="{62E4E9F7-B8A2-476D-A91F-59B0695A8EB3}"/>
          </ac:spMkLst>
        </pc:spChg>
        <pc:spChg chg="mod">
          <ac:chgData name="K M Rahaman" userId="d5522254b8323d27" providerId="LiveId" clId="{FD9B0772-4A7B-4F41-BA42-93F45BDEAA6D}" dt="2021-02-22T06:45:47.334" v="34" actId="207"/>
          <ac:spMkLst>
            <pc:docMk/>
            <pc:sldMk cId="1669609687" sldId="257"/>
            <ac:spMk id="163" creationId="{2D0BDB47-B083-4C11-8F57-09C4A1F18CC9}"/>
          </ac:spMkLst>
        </pc:spChg>
        <pc:spChg chg="add del mod">
          <ac:chgData name="K M Rahaman" userId="d5522254b8323d27" providerId="LiveId" clId="{FD9B0772-4A7B-4F41-BA42-93F45BDEAA6D}" dt="2021-02-22T06:49:35.803" v="82" actId="21"/>
          <ac:spMkLst>
            <pc:docMk/>
            <pc:sldMk cId="1669609687" sldId="257"/>
            <ac:spMk id="164" creationId="{B58CC5F6-529D-460C-B2CC-95170C64EC4E}"/>
          </ac:spMkLst>
        </pc:spChg>
        <pc:spChg chg="add del mod">
          <ac:chgData name="K M Rahaman" userId="d5522254b8323d27" providerId="LiveId" clId="{FD9B0772-4A7B-4F41-BA42-93F45BDEAA6D}" dt="2021-02-22T06:49:34.796" v="78" actId="21"/>
          <ac:spMkLst>
            <pc:docMk/>
            <pc:sldMk cId="1669609687" sldId="257"/>
            <ac:spMk id="165" creationId="{A7B824A7-BC55-43C8-9010-9EFB453E0443}"/>
          </ac:spMkLst>
        </pc:spChg>
        <pc:spChg chg="add del mod">
          <ac:chgData name="K M Rahaman" userId="d5522254b8323d27" providerId="LiveId" clId="{FD9B0772-4A7B-4F41-BA42-93F45BDEAA6D}" dt="2021-02-22T06:49:34.572" v="77" actId="21"/>
          <ac:spMkLst>
            <pc:docMk/>
            <pc:sldMk cId="1669609687" sldId="257"/>
            <ac:spMk id="166" creationId="{50F3443A-D81D-4947-85D5-BC6D462D35FB}"/>
          </ac:spMkLst>
        </pc:spChg>
        <pc:spChg chg="add del mod">
          <ac:chgData name="K M Rahaman" userId="d5522254b8323d27" providerId="LiveId" clId="{FD9B0772-4A7B-4F41-BA42-93F45BDEAA6D}" dt="2021-02-22T06:49:34.333" v="76" actId="21"/>
          <ac:spMkLst>
            <pc:docMk/>
            <pc:sldMk cId="1669609687" sldId="257"/>
            <ac:spMk id="167" creationId="{F0AD952A-921D-4B05-906B-E0D1650F5A67}"/>
          </ac:spMkLst>
        </pc:spChg>
        <pc:spChg chg="add del mod">
          <ac:chgData name="K M Rahaman" userId="d5522254b8323d27" providerId="LiveId" clId="{FD9B0772-4A7B-4F41-BA42-93F45BDEAA6D}" dt="2021-02-22T06:49:34.083" v="75" actId="21"/>
          <ac:spMkLst>
            <pc:docMk/>
            <pc:sldMk cId="1669609687" sldId="257"/>
            <ac:spMk id="168" creationId="{5FA9B62C-B419-4143-96B3-6CC76BFCD3D2}"/>
          </ac:spMkLst>
        </pc:spChg>
        <pc:spChg chg="add del mod">
          <ac:chgData name="K M Rahaman" userId="d5522254b8323d27" providerId="LiveId" clId="{FD9B0772-4A7B-4F41-BA42-93F45BDEAA6D}" dt="2021-02-22T06:49:32.965" v="70" actId="21"/>
          <ac:spMkLst>
            <pc:docMk/>
            <pc:sldMk cId="1669609687" sldId="257"/>
            <ac:spMk id="169" creationId="{C2424942-85D8-4E3B-AC5D-C88B24014967}"/>
          </ac:spMkLst>
        </pc:spChg>
        <pc:spChg chg="add del mod">
          <ac:chgData name="K M Rahaman" userId="d5522254b8323d27" providerId="LiveId" clId="{FD9B0772-4A7B-4F41-BA42-93F45BDEAA6D}" dt="2021-02-22T06:49:33.217" v="71" actId="21"/>
          <ac:spMkLst>
            <pc:docMk/>
            <pc:sldMk cId="1669609687" sldId="257"/>
            <ac:spMk id="170" creationId="{61D200C4-4734-479E-9586-483DE6A63D4D}"/>
          </ac:spMkLst>
        </pc:spChg>
        <pc:spChg chg="add del mod">
          <ac:chgData name="K M Rahaman" userId="d5522254b8323d27" providerId="LiveId" clId="{FD9B0772-4A7B-4F41-BA42-93F45BDEAA6D}" dt="2021-02-22T06:49:32.526" v="68" actId="21"/>
          <ac:spMkLst>
            <pc:docMk/>
            <pc:sldMk cId="1669609687" sldId="257"/>
            <ac:spMk id="171" creationId="{152B54C7-22EF-42DA-9173-2CFE49DC2AF5}"/>
          </ac:spMkLst>
        </pc:spChg>
        <pc:spChg chg="add del mod">
          <ac:chgData name="K M Rahaman" userId="d5522254b8323d27" providerId="LiveId" clId="{FD9B0772-4A7B-4F41-BA42-93F45BDEAA6D}" dt="2021-02-22T06:49:32.724" v="69" actId="21"/>
          <ac:spMkLst>
            <pc:docMk/>
            <pc:sldMk cId="1669609687" sldId="257"/>
            <ac:spMk id="172" creationId="{95DD6AE4-01B5-426B-AD51-BE6273233C0D}"/>
          </ac:spMkLst>
        </pc:spChg>
        <pc:spChg chg="mod">
          <ac:chgData name="K M Rahaman" userId="d5522254b8323d27" providerId="LiveId" clId="{FD9B0772-4A7B-4F41-BA42-93F45BDEAA6D}" dt="2021-02-22T06:45:47.334" v="34" actId="207"/>
          <ac:spMkLst>
            <pc:docMk/>
            <pc:sldMk cId="1669609687" sldId="257"/>
            <ac:spMk id="173" creationId="{60EC567B-B6F5-4C4F-B856-AA94694E4FC3}"/>
          </ac:spMkLst>
        </pc:spChg>
        <pc:spChg chg="mod">
          <ac:chgData name="K M Rahaman" userId="d5522254b8323d27" providerId="LiveId" clId="{FD9B0772-4A7B-4F41-BA42-93F45BDEAA6D}" dt="2021-02-22T06:45:47.334" v="34" actId="207"/>
          <ac:spMkLst>
            <pc:docMk/>
            <pc:sldMk cId="1669609687" sldId="257"/>
            <ac:spMk id="174" creationId="{3CCBCFA3-2E29-4D60-8046-0183FA43C4CD}"/>
          </ac:spMkLst>
        </pc:spChg>
        <pc:spChg chg="mod">
          <ac:chgData name="K M Rahaman" userId="d5522254b8323d27" providerId="LiveId" clId="{FD9B0772-4A7B-4F41-BA42-93F45BDEAA6D}" dt="2021-02-22T06:45:47.334" v="34" actId="207"/>
          <ac:spMkLst>
            <pc:docMk/>
            <pc:sldMk cId="1669609687" sldId="257"/>
            <ac:spMk id="175" creationId="{4B9541D9-CE97-40B9-903E-C5081D33E5AD}"/>
          </ac:spMkLst>
        </pc:spChg>
        <pc:spChg chg="mod">
          <ac:chgData name="K M Rahaman" userId="d5522254b8323d27" providerId="LiveId" clId="{FD9B0772-4A7B-4F41-BA42-93F45BDEAA6D}" dt="2021-02-22T06:45:47.334" v="34" actId="207"/>
          <ac:spMkLst>
            <pc:docMk/>
            <pc:sldMk cId="1669609687" sldId="257"/>
            <ac:spMk id="176" creationId="{E5310EFF-D25B-495A-9E18-17F475DED5DC}"/>
          </ac:spMkLst>
        </pc:spChg>
        <pc:spChg chg="mod">
          <ac:chgData name="K M Rahaman" userId="d5522254b8323d27" providerId="LiveId" clId="{FD9B0772-4A7B-4F41-BA42-93F45BDEAA6D}" dt="2021-02-22T06:45:47.334" v="34" actId="207"/>
          <ac:spMkLst>
            <pc:docMk/>
            <pc:sldMk cId="1669609687" sldId="257"/>
            <ac:spMk id="177" creationId="{D2C8D248-8380-4AEB-B054-C252700E4506}"/>
          </ac:spMkLst>
        </pc:spChg>
        <pc:spChg chg="mod">
          <ac:chgData name="K M Rahaman" userId="d5522254b8323d27" providerId="LiveId" clId="{FD9B0772-4A7B-4F41-BA42-93F45BDEAA6D}" dt="2021-02-22T06:45:47.334" v="34" actId="207"/>
          <ac:spMkLst>
            <pc:docMk/>
            <pc:sldMk cId="1669609687" sldId="257"/>
            <ac:spMk id="178" creationId="{E75721AD-7F22-45C7-A806-D69D021EF612}"/>
          </ac:spMkLst>
        </pc:spChg>
        <pc:spChg chg="mod">
          <ac:chgData name="K M Rahaman" userId="d5522254b8323d27" providerId="LiveId" clId="{FD9B0772-4A7B-4F41-BA42-93F45BDEAA6D}" dt="2021-02-22T06:45:47.334" v="34" actId="207"/>
          <ac:spMkLst>
            <pc:docMk/>
            <pc:sldMk cId="1669609687" sldId="257"/>
            <ac:spMk id="179" creationId="{6F1F4D91-4B5B-4EE2-AFF0-CB1A2A447107}"/>
          </ac:spMkLst>
        </pc:spChg>
        <pc:spChg chg="mod">
          <ac:chgData name="K M Rahaman" userId="d5522254b8323d27" providerId="LiveId" clId="{FD9B0772-4A7B-4F41-BA42-93F45BDEAA6D}" dt="2021-02-22T06:45:47.334" v="34" actId="207"/>
          <ac:spMkLst>
            <pc:docMk/>
            <pc:sldMk cId="1669609687" sldId="257"/>
            <ac:spMk id="180" creationId="{CC7D8DA1-7EFB-4ECF-A12A-5E8CB8DC22D4}"/>
          </ac:spMkLst>
        </pc:spChg>
        <pc:spChg chg="mod">
          <ac:chgData name="K M Rahaman" userId="d5522254b8323d27" providerId="LiveId" clId="{FD9B0772-4A7B-4F41-BA42-93F45BDEAA6D}" dt="2021-02-22T06:45:47.334" v="34" actId="207"/>
          <ac:spMkLst>
            <pc:docMk/>
            <pc:sldMk cId="1669609687" sldId="257"/>
            <ac:spMk id="181" creationId="{F4C4DD45-AA22-4E9D-9EFA-6A7DF1F186DD}"/>
          </ac:spMkLst>
        </pc:spChg>
        <pc:spChg chg="add del mod">
          <ac:chgData name="K M Rahaman" userId="d5522254b8323d27" providerId="LiveId" clId="{FD9B0772-4A7B-4F41-BA42-93F45BDEAA6D}" dt="2021-02-22T06:49:31.711" v="65" actId="21"/>
          <ac:spMkLst>
            <pc:docMk/>
            <pc:sldMk cId="1669609687" sldId="257"/>
            <ac:spMk id="182" creationId="{7348C6F8-4C19-46F8-8106-BB1517EDB4F3}"/>
          </ac:spMkLst>
        </pc:spChg>
        <pc:spChg chg="mod">
          <ac:chgData name="K M Rahaman" userId="d5522254b8323d27" providerId="LiveId" clId="{FD9B0772-4A7B-4F41-BA42-93F45BDEAA6D}" dt="2021-02-22T06:45:47.334" v="34" actId="207"/>
          <ac:spMkLst>
            <pc:docMk/>
            <pc:sldMk cId="1669609687" sldId="257"/>
            <ac:spMk id="183" creationId="{F32A0562-2294-4605-9BBF-68F17D48C0F3}"/>
          </ac:spMkLst>
        </pc:spChg>
        <pc:spChg chg="add del mod">
          <ac:chgData name="K M Rahaman" userId="d5522254b8323d27" providerId="LiveId" clId="{FD9B0772-4A7B-4F41-BA42-93F45BDEAA6D}" dt="2021-02-22T06:49:35.527" v="81" actId="21"/>
          <ac:spMkLst>
            <pc:docMk/>
            <pc:sldMk cId="1669609687" sldId="257"/>
            <ac:spMk id="184" creationId="{A749E23A-B957-4256-8857-8EAE4D5BC6C7}"/>
          </ac:spMkLst>
        </pc:spChg>
        <pc:grpChg chg="add del mod">
          <ac:chgData name="K M Rahaman" userId="d5522254b8323d27" providerId="LiveId" clId="{FD9B0772-4A7B-4F41-BA42-93F45BDEAA6D}" dt="2021-02-22T07:04:44.557" v="180" actId="21"/>
          <ac:grpSpMkLst>
            <pc:docMk/>
            <pc:sldMk cId="1669609687" sldId="257"/>
            <ac:grpSpMk id="101" creationId="{33D46B08-C6FE-4D9F-930C-6E573B7AE755}"/>
          </ac:grpSpMkLst>
        </pc:grpChg>
        <pc:grpChg chg="del mod">
          <ac:chgData name="K M Rahaman" userId="d5522254b8323d27" providerId="LiveId" clId="{FD9B0772-4A7B-4F41-BA42-93F45BDEAA6D}" dt="2021-02-22T07:03:12.940" v="171" actId="21"/>
          <ac:grpSpMkLst>
            <pc:docMk/>
            <pc:sldMk cId="1669609687" sldId="257"/>
            <ac:grpSpMk id="103" creationId="{EBAF2245-E929-4D56-B9DA-4C58C25A4A91}"/>
          </ac:grpSpMkLst>
        </pc:grpChg>
        <pc:grpChg chg="add del mod">
          <ac:chgData name="K M Rahaman" userId="d5522254b8323d27" providerId="LiveId" clId="{FD9B0772-4A7B-4F41-BA42-93F45BDEAA6D}" dt="2021-02-22T07:02:15.789" v="165" actId="21"/>
          <ac:grpSpMkLst>
            <pc:docMk/>
            <pc:sldMk cId="1669609687" sldId="257"/>
            <ac:grpSpMk id="110" creationId="{21C92E23-1C0B-4896-A498-464B14FA41E6}"/>
          </ac:grpSpMkLst>
        </pc:grpChg>
        <pc:grpChg chg="del mod topLvl">
          <ac:chgData name="K M Rahaman" userId="d5522254b8323d27" providerId="LiveId" clId="{FD9B0772-4A7B-4F41-BA42-93F45BDEAA6D}" dt="2021-02-22T07:03:21.189" v="173" actId="21"/>
          <ac:grpSpMkLst>
            <pc:docMk/>
            <pc:sldMk cId="1669609687" sldId="257"/>
            <ac:grpSpMk id="111" creationId="{D5D21345-C01D-4D8F-A34B-EB897DF413ED}"/>
          </ac:grpSpMkLst>
        </pc:grpChg>
        <pc:grpChg chg="add del mod">
          <ac:chgData name="K M Rahaman" userId="d5522254b8323d27" providerId="LiveId" clId="{FD9B0772-4A7B-4F41-BA42-93F45BDEAA6D}" dt="2021-02-22T07:38:33.772" v="300" actId="1076"/>
          <ac:grpSpMkLst>
            <pc:docMk/>
            <pc:sldMk cId="1669609687" sldId="257"/>
            <ac:grpSpMk id="112" creationId="{56671606-FB62-40E0-9407-FA69CDD5DCF8}"/>
          </ac:grpSpMkLst>
        </pc:grpChg>
        <pc:grpChg chg="add del mod">
          <ac:chgData name="K M Rahaman" userId="d5522254b8323d27" providerId="LiveId" clId="{FD9B0772-4A7B-4F41-BA42-93F45BDEAA6D}" dt="2021-02-22T06:49:47.186" v="85" actId="21"/>
          <ac:grpSpMkLst>
            <pc:docMk/>
            <pc:sldMk cId="1669609687" sldId="257"/>
            <ac:grpSpMk id="146" creationId="{0E6C13D5-47F7-4019-ADE7-614ED9D8CE43}"/>
          </ac:grpSpMkLst>
        </pc:grpChg>
        <pc:grpChg chg="del mod topLvl">
          <ac:chgData name="K M Rahaman" userId="d5522254b8323d27" providerId="LiveId" clId="{FD9B0772-4A7B-4F41-BA42-93F45BDEAA6D}" dt="2021-02-22T06:50:17.004" v="88" actId="21"/>
          <ac:grpSpMkLst>
            <pc:docMk/>
            <pc:sldMk cId="1669609687" sldId="257"/>
            <ac:grpSpMk id="147" creationId="{A4F99B37-05BD-402E-A3BE-3CFE1F887392}"/>
          </ac:grpSpMkLst>
        </pc:grpChg>
        <pc:grpChg chg="add del mod">
          <ac:chgData name="K M Rahaman" userId="d5522254b8323d27" providerId="LiveId" clId="{FD9B0772-4A7B-4F41-BA42-93F45BDEAA6D}" dt="2021-02-22T06:49:35.527" v="81" actId="21"/>
          <ac:grpSpMkLst>
            <pc:docMk/>
            <pc:sldMk cId="1669609687" sldId="257"/>
            <ac:grpSpMk id="151" creationId="{CFDD3D3A-E1BE-4432-AAD1-97F7C62AA5F7}"/>
          </ac:grpSpMkLst>
        </pc:grpChg>
        <pc:picChg chg="add del mod">
          <ac:chgData name="K M Rahaman" userId="d5522254b8323d27" providerId="LiveId" clId="{FD9B0772-4A7B-4F41-BA42-93F45BDEAA6D}" dt="2021-02-22T06:51:17.493" v="92" actId="21"/>
          <ac:picMkLst>
            <pc:docMk/>
            <pc:sldMk cId="1669609687" sldId="257"/>
            <ac:picMk id="4" creationId="{7A77987B-74F4-44AA-83CA-5F3D6AB67D55}"/>
          </ac:picMkLst>
        </pc:picChg>
        <pc:picChg chg="add del mod">
          <ac:chgData name="K M Rahaman" userId="d5522254b8323d27" providerId="LiveId" clId="{FD9B0772-4A7B-4F41-BA42-93F45BDEAA6D}" dt="2021-02-22T07:07:01.993" v="193" actId="21"/>
          <ac:picMkLst>
            <pc:docMk/>
            <pc:sldMk cId="1669609687" sldId="257"/>
            <ac:picMk id="5" creationId="{F25A410C-D835-4AE6-8AB4-7F4BA7C4B557}"/>
          </ac:picMkLst>
        </pc:picChg>
        <pc:picChg chg="add del mod modCrop">
          <ac:chgData name="K M Rahaman" userId="d5522254b8323d27" providerId="LiveId" clId="{FD9B0772-4A7B-4F41-BA42-93F45BDEAA6D}" dt="2021-02-22T06:53:38.291" v="103" actId="21"/>
          <ac:picMkLst>
            <pc:docMk/>
            <pc:sldMk cId="1669609687" sldId="257"/>
            <ac:picMk id="6" creationId="{ACD26ED7-C8B9-4189-84B4-A730C4FFFCB5}"/>
          </ac:picMkLst>
        </pc:picChg>
        <pc:picChg chg="add del mod">
          <ac:chgData name="K M Rahaman" userId="d5522254b8323d27" providerId="LiveId" clId="{FD9B0772-4A7B-4F41-BA42-93F45BDEAA6D}" dt="2021-02-22T07:38:45.316" v="301" actId="1076"/>
          <ac:picMkLst>
            <pc:docMk/>
            <pc:sldMk cId="1669609687" sldId="257"/>
            <ac:picMk id="10" creationId="{6FA8BE54-B3B9-493A-83F8-DDD10848DD9F}"/>
          </ac:picMkLst>
        </pc:picChg>
        <pc:picChg chg="add del mod">
          <ac:chgData name="K M Rahaman" userId="d5522254b8323d27" providerId="LiveId" clId="{FD9B0772-4A7B-4F41-BA42-93F45BDEAA6D}" dt="2021-02-22T07:01:08.233" v="151"/>
          <ac:picMkLst>
            <pc:docMk/>
            <pc:sldMk cId="1669609687" sldId="257"/>
            <ac:picMk id="11" creationId="{34188AB7-BE4C-40DD-BF7A-CF131DF1BD8E}"/>
          </ac:picMkLst>
        </pc:picChg>
        <pc:picChg chg="add del mod">
          <ac:chgData name="K M Rahaman" userId="d5522254b8323d27" providerId="LiveId" clId="{FD9B0772-4A7B-4F41-BA42-93F45BDEAA6D}" dt="2021-02-22T07:07:36.667" v="198" actId="21"/>
          <ac:picMkLst>
            <pc:docMk/>
            <pc:sldMk cId="1669609687" sldId="257"/>
            <ac:picMk id="13" creationId="{42EB87EA-459B-45B4-9A96-50F9B421FF0C}"/>
          </ac:picMkLst>
        </pc:picChg>
        <pc:picChg chg="add del mod">
          <ac:chgData name="K M Rahaman" userId="d5522254b8323d27" providerId="LiveId" clId="{FD9B0772-4A7B-4F41-BA42-93F45BDEAA6D}" dt="2021-02-22T07:08:34.150" v="211" actId="21"/>
          <ac:picMkLst>
            <pc:docMk/>
            <pc:sldMk cId="1669609687" sldId="257"/>
            <ac:picMk id="14" creationId="{864B37F5-082E-448B-8730-A4D71CC7FE9F}"/>
          </ac:picMkLst>
        </pc:picChg>
        <pc:picChg chg="add mod ord">
          <ac:chgData name="K M Rahaman" userId="d5522254b8323d27" providerId="LiveId" clId="{FD9B0772-4A7B-4F41-BA42-93F45BDEAA6D}" dt="2021-02-22T07:56:21.301" v="340" actId="1076"/>
          <ac:picMkLst>
            <pc:docMk/>
            <pc:sldMk cId="1669609687" sldId="257"/>
            <ac:picMk id="15" creationId="{2FCAF5DD-0425-434A-B979-DA106AAAEF4C}"/>
          </ac:picMkLst>
        </pc:picChg>
        <pc:picChg chg="add del mod">
          <ac:chgData name="K M Rahaman" userId="d5522254b8323d27" providerId="LiveId" clId="{FD9B0772-4A7B-4F41-BA42-93F45BDEAA6D}" dt="2021-02-22T07:38:27.996" v="298" actId="21"/>
          <ac:picMkLst>
            <pc:docMk/>
            <pc:sldMk cId="1669609687" sldId="257"/>
            <ac:picMk id="17" creationId="{9D0DE811-E606-409C-99D3-ADE0575EB9DB}"/>
          </ac:picMkLst>
        </pc:picChg>
        <pc:picChg chg="add del mod">
          <ac:chgData name="K M Rahaman" userId="d5522254b8323d27" providerId="LiveId" clId="{FD9B0772-4A7B-4F41-BA42-93F45BDEAA6D}" dt="2021-02-22T07:32:52.222" v="282"/>
          <ac:picMkLst>
            <pc:docMk/>
            <pc:sldMk cId="1669609687" sldId="257"/>
            <ac:picMk id="18" creationId="{D1368871-8450-4A3B-BA42-A94D67E96D65}"/>
          </ac:picMkLst>
        </pc:picChg>
        <pc:picChg chg="add del mod">
          <ac:chgData name="K M Rahaman" userId="d5522254b8323d27" providerId="LiveId" clId="{FD9B0772-4A7B-4F41-BA42-93F45BDEAA6D}" dt="2021-02-22T07:35:46.260" v="289" actId="931"/>
          <ac:picMkLst>
            <pc:docMk/>
            <pc:sldMk cId="1669609687" sldId="257"/>
            <ac:picMk id="20" creationId="{4BE268BC-C2A8-414B-A545-942DC84BB96A}"/>
          </ac:picMkLst>
        </pc:picChg>
        <pc:picChg chg="add del mod">
          <ac:chgData name="K M Rahaman" userId="d5522254b8323d27" providerId="LiveId" clId="{FD9B0772-4A7B-4F41-BA42-93F45BDEAA6D}" dt="2021-02-22T07:43:31.869" v="334" actId="931"/>
          <ac:picMkLst>
            <pc:docMk/>
            <pc:sldMk cId="1669609687" sldId="257"/>
            <ac:picMk id="24" creationId="{FFB86209-DE10-4269-B3DE-0AD5EB3A6846}"/>
          </ac:picMkLst>
        </pc:picChg>
        <pc:picChg chg="add del mod topLvl">
          <ac:chgData name="K M Rahaman" userId="d5522254b8323d27" providerId="LiveId" clId="{FD9B0772-4A7B-4F41-BA42-93F45BDEAA6D}" dt="2021-02-22T07:38:18.864" v="295" actId="1076"/>
          <ac:picMkLst>
            <pc:docMk/>
            <pc:sldMk cId="1669609687" sldId="257"/>
            <ac:picMk id="57" creationId="{4C480F6C-BECA-4763-A6F0-2DEBE4D1F40A}"/>
          </ac:picMkLst>
        </pc:picChg>
        <pc:picChg chg="add mod">
          <ac:chgData name="K M Rahaman" userId="d5522254b8323d27" providerId="LiveId" clId="{FD9B0772-4A7B-4F41-BA42-93F45BDEAA6D}" dt="2021-02-22T07:26:20.168" v="270" actId="571"/>
          <ac:picMkLst>
            <pc:docMk/>
            <pc:sldMk cId="1669609687" sldId="257"/>
            <ac:picMk id="86" creationId="{120E0A55-3F55-4A08-AFBF-80084ADB0CC9}"/>
          </ac:picMkLst>
        </pc:picChg>
        <pc:picChg chg="add del mod">
          <ac:chgData name="K M Rahaman" userId="d5522254b8323d27" providerId="LiveId" clId="{FD9B0772-4A7B-4F41-BA42-93F45BDEAA6D}" dt="2021-02-22T07:39:29.004" v="310"/>
          <ac:picMkLst>
            <pc:docMk/>
            <pc:sldMk cId="1669609687" sldId="257"/>
            <ac:picMk id="91" creationId="{B877A934-2848-4EC1-8C44-842155D72B74}"/>
          </ac:picMkLst>
        </pc:picChg>
        <pc:picChg chg="add del mod">
          <ac:chgData name="K M Rahaman" userId="d5522254b8323d27" providerId="LiveId" clId="{FD9B0772-4A7B-4F41-BA42-93F45BDEAA6D}" dt="2021-02-22T07:43:11.902" v="330"/>
          <ac:picMkLst>
            <pc:docMk/>
            <pc:sldMk cId="1669609687" sldId="257"/>
            <ac:picMk id="94" creationId="{7E69A72A-746D-4456-A8BE-925E03712DE0}"/>
          </ac:picMkLst>
        </pc:picChg>
        <pc:picChg chg="del mod topLvl">
          <ac:chgData name="K M Rahaman" userId="d5522254b8323d27" providerId="LiveId" clId="{FD9B0772-4A7B-4F41-BA42-93F45BDEAA6D}" dt="2021-02-22T06:49:47.186" v="85" actId="21"/>
          <ac:picMkLst>
            <pc:docMk/>
            <pc:sldMk cId="1669609687" sldId="257"/>
            <ac:picMk id="148" creationId="{7C1B61BD-10FC-4BA7-9517-6F7737413700}"/>
          </ac:picMkLst>
        </pc:picChg>
        <pc:picChg chg="add del mod">
          <ac:chgData name="K M Rahaman" userId="d5522254b8323d27" providerId="LiveId" clId="{FD9B0772-4A7B-4F41-BA42-93F45BDEAA6D}" dt="2021-02-22T06:49:33.859" v="74" actId="21"/>
          <ac:picMkLst>
            <pc:docMk/>
            <pc:sldMk cId="1669609687" sldId="257"/>
            <ac:picMk id="156" creationId="{55E540B7-4FE8-4D5F-800C-13BD7F59AA05}"/>
          </ac:picMkLst>
        </pc:picChg>
      </pc:sldChg>
      <pc:sldChg chg="addSp delSp modSp mod">
        <pc:chgData name="K M Rahaman" userId="d5522254b8323d27" providerId="LiveId" clId="{FD9B0772-4A7B-4F41-BA42-93F45BDEAA6D}" dt="2021-02-26T17:48:06.062" v="7881" actId="114"/>
        <pc:sldMkLst>
          <pc:docMk/>
          <pc:sldMk cId="424418358" sldId="258"/>
        </pc:sldMkLst>
        <pc:spChg chg="del mod">
          <ac:chgData name="K M Rahaman" userId="d5522254b8323d27" providerId="LiveId" clId="{FD9B0772-4A7B-4F41-BA42-93F45BDEAA6D}" dt="2021-02-25T07:10:40.911" v="2985" actId="478"/>
          <ac:spMkLst>
            <pc:docMk/>
            <pc:sldMk cId="424418358" sldId="258"/>
            <ac:spMk id="5" creationId="{44D47A81-A32D-4C30-9129-64A1CC954C7C}"/>
          </ac:spMkLst>
        </pc:spChg>
        <pc:spChg chg="del">
          <ac:chgData name="K M Rahaman" userId="d5522254b8323d27" providerId="LiveId" clId="{FD9B0772-4A7B-4F41-BA42-93F45BDEAA6D}" dt="2021-02-25T07:10:45.954" v="2987" actId="478"/>
          <ac:spMkLst>
            <pc:docMk/>
            <pc:sldMk cId="424418358" sldId="258"/>
            <ac:spMk id="6" creationId="{9F16BDBF-2DC1-4C7A-ABA7-5B8B5B98DBD3}"/>
          </ac:spMkLst>
        </pc:spChg>
        <pc:spChg chg="del">
          <ac:chgData name="K M Rahaman" userId="d5522254b8323d27" providerId="LiveId" clId="{FD9B0772-4A7B-4F41-BA42-93F45BDEAA6D}" dt="2021-02-25T07:10:48.461" v="2988" actId="478"/>
          <ac:spMkLst>
            <pc:docMk/>
            <pc:sldMk cId="424418358" sldId="258"/>
            <ac:spMk id="7" creationId="{B90590C4-1F37-46E8-94D3-CA83F2640165}"/>
          </ac:spMkLst>
        </pc:spChg>
        <pc:spChg chg="del mod">
          <ac:chgData name="K M Rahaman" userId="d5522254b8323d27" providerId="LiveId" clId="{FD9B0772-4A7B-4F41-BA42-93F45BDEAA6D}" dt="2021-02-25T07:12:07.426" v="3001" actId="478"/>
          <ac:spMkLst>
            <pc:docMk/>
            <pc:sldMk cId="424418358" sldId="258"/>
            <ac:spMk id="10" creationId="{999AC18C-E849-4954-B5A6-7A53854424B1}"/>
          </ac:spMkLst>
        </pc:spChg>
        <pc:spChg chg="del">
          <ac:chgData name="K M Rahaman" userId="d5522254b8323d27" providerId="LiveId" clId="{FD9B0772-4A7B-4F41-BA42-93F45BDEAA6D}" dt="2021-02-25T07:08:24.651" v="2965" actId="478"/>
          <ac:spMkLst>
            <pc:docMk/>
            <pc:sldMk cId="424418358" sldId="258"/>
            <ac:spMk id="20" creationId="{E392E51B-93F8-42CE-97DB-7FC79B38C5E5}"/>
          </ac:spMkLst>
        </pc:spChg>
        <pc:spChg chg="add mod">
          <ac:chgData name="K M Rahaman" userId="d5522254b8323d27" providerId="LiveId" clId="{FD9B0772-4A7B-4F41-BA42-93F45BDEAA6D}" dt="2021-02-26T17:48:06.062" v="7881" actId="114"/>
          <ac:spMkLst>
            <pc:docMk/>
            <pc:sldMk cId="424418358" sldId="258"/>
            <ac:spMk id="21" creationId="{30332E49-34E8-4568-80A2-3836D406476F}"/>
          </ac:spMkLst>
        </pc:spChg>
        <pc:spChg chg="mod">
          <ac:chgData name="K M Rahaman" userId="d5522254b8323d27" providerId="LiveId" clId="{FD9B0772-4A7B-4F41-BA42-93F45BDEAA6D}" dt="2021-02-25T07:08:40.776" v="2968" actId="14100"/>
          <ac:spMkLst>
            <pc:docMk/>
            <pc:sldMk cId="424418358" sldId="258"/>
            <ac:spMk id="35" creationId="{62EA186F-20AC-4351-AF59-54EEC9C10374}"/>
          </ac:spMkLst>
        </pc:spChg>
        <pc:spChg chg="mod">
          <ac:chgData name="K M Rahaman" userId="d5522254b8323d27" providerId="LiveId" clId="{FD9B0772-4A7B-4F41-BA42-93F45BDEAA6D}" dt="2021-02-25T08:51:05.797" v="5245" actId="114"/>
          <ac:spMkLst>
            <pc:docMk/>
            <pc:sldMk cId="424418358" sldId="258"/>
            <ac:spMk id="60" creationId="{0009F018-5D56-4403-8DB3-9A2F558C74C4}"/>
          </ac:spMkLst>
        </pc:spChg>
        <pc:spChg chg="mod">
          <ac:chgData name="K M Rahaman" userId="d5522254b8323d27" providerId="LiveId" clId="{FD9B0772-4A7B-4F41-BA42-93F45BDEAA6D}" dt="2021-02-25T08:37:47.996" v="5125" actId="20577"/>
          <ac:spMkLst>
            <pc:docMk/>
            <pc:sldMk cId="424418358" sldId="258"/>
            <ac:spMk id="61" creationId="{3CB4D5A7-2527-4D81-A099-29AED8DE3B9A}"/>
          </ac:spMkLst>
        </pc:spChg>
        <pc:spChg chg="mod">
          <ac:chgData name="K M Rahaman" userId="d5522254b8323d27" providerId="LiveId" clId="{FD9B0772-4A7B-4F41-BA42-93F45BDEAA6D}" dt="2021-02-25T08:53:33.824" v="5287" actId="20577"/>
          <ac:spMkLst>
            <pc:docMk/>
            <pc:sldMk cId="424418358" sldId="258"/>
            <ac:spMk id="62" creationId="{70DDA4B1-7F24-4F94-A19E-05A9C7EB3533}"/>
          </ac:spMkLst>
        </pc:spChg>
        <pc:spChg chg="mod">
          <ac:chgData name="K M Rahaman" userId="d5522254b8323d27" providerId="LiveId" clId="{FD9B0772-4A7B-4F41-BA42-93F45BDEAA6D}" dt="2021-02-25T08:42:25.496" v="5191" actId="1076"/>
          <ac:spMkLst>
            <pc:docMk/>
            <pc:sldMk cId="424418358" sldId="258"/>
            <ac:spMk id="63" creationId="{E31AD305-0FFF-4385-9368-5600A3234B38}"/>
          </ac:spMkLst>
        </pc:spChg>
        <pc:spChg chg="add del">
          <ac:chgData name="K M Rahaman" userId="d5522254b8323d27" providerId="LiveId" clId="{FD9B0772-4A7B-4F41-BA42-93F45BDEAA6D}" dt="2021-02-25T07:11:17.105" v="2991" actId="22"/>
          <ac:spMkLst>
            <pc:docMk/>
            <pc:sldMk cId="424418358" sldId="258"/>
            <ac:spMk id="64" creationId="{24FE66E9-69D9-4C85-B62D-A1EA3D3AA36C}"/>
          </ac:spMkLst>
        </pc:spChg>
        <pc:spChg chg="add del">
          <ac:chgData name="K M Rahaman" userId="d5522254b8323d27" providerId="LiveId" clId="{FD9B0772-4A7B-4F41-BA42-93F45BDEAA6D}" dt="2021-02-25T07:11:42.997" v="2993" actId="22"/>
          <ac:spMkLst>
            <pc:docMk/>
            <pc:sldMk cId="424418358" sldId="258"/>
            <ac:spMk id="66" creationId="{9BED1FFF-584A-4E0E-8BBC-F64C0D65F3BF}"/>
          </ac:spMkLst>
        </pc:spChg>
        <pc:spChg chg="mod">
          <ac:chgData name="K M Rahaman" userId="d5522254b8323d27" providerId="LiveId" clId="{FD9B0772-4A7B-4F41-BA42-93F45BDEAA6D}" dt="2021-02-25T08:43:42.058" v="5198" actId="20577"/>
          <ac:spMkLst>
            <pc:docMk/>
            <pc:sldMk cId="424418358" sldId="258"/>
            <ac:spMk id="68" creationId="{EF3324FE-93BC-4F90-A49A-60FD7DAE4487}"/>
          </ac:spMkLst>
        </pc:spChg>
        <pc:spChg chg="add del">
          <ac:chgData name="K M Rahaman" userId="d5522254b8323d27" providerId="LiveId" clId="{FD9B0772-4A7B-4F41-BA42-93F45BDEAA6D}" dt="2021-02-25T07:12:02.017" v="2998" actId="22"/>
          <ac:spMkLst>
            <pc:docMk/>
            <pc:sldMk cId="424418358" sldId="258"/>
            <ac:spMk id="87" creationId="{07B8F358-EE95-4435-9D4C-4F3B1CE94B04}"/>
          </ac:spMkLst>
        </pc:spChg>
        <pc:spChg chg="add mod">
          <ac:chgData name="K M Rahaman" userId="d5522254b8323d27" providerId="LiveId" clId="{FD9B0772-4A7B-4F41-BA42-93F45BDEAA6D}" dt="2021-02-25T08:49:36.788" v="5239" actId="14100"/>
          <ac:spMkLst>
            <pc:docMk/>
            <pc:sldMk cId="424418358" sldId="258"/>
            <ac:spMk id="88" creationId="{F0AB6FDD-03E4-4BF0-8881-572E6115A107}"/>
          </ac:spMkLst>
        </pc:spChg>
        <pc:spChg chg="add del mod">
          <ac:chgData name="K M Rahaman" userId="d5522254b8323d27" providerId="LiveId" clId="{FD9B0772-4A7B-4F41-BA42-93F45BDEAA6D}" dt="2021-02-25T07:13:14.626" v="3009"/>
          <ac:spMkLst>
            <pc:docMk/>
            <pc:sldMk cId="424418358" sldId="258"/>
            <ac:spMk id="89" creationId="{4C9964E4-194E-4FC3-967C-C30D25D0C610}"/>
          </ac:spMkLst>
        </pc:spChg>
        <pc:spChg chg="add mod">
          <ac:chgData name="K M Rahaman" userId="d5522254b8323d27" providerId="LiveId" clId="{FD9B0772-4A7B-4F41-BA42-93F45BDEAA6D}" dt="2021-02-25T08:52:11.545" v="5257" actId="20577"/>
          <ac:spMkLst>
            <pc:docMk/>
            <pc:sldMk cId="424418358" sldId="258"/>
            <ac:spMk id="90" creationId="{782081C3-EA74-4E7D-8F4D-26C5F50D4F03}"/>
          </ac:spMkLst>
        </pc:spChg>
        <pc:grpChg chg="del">
          <ac:chgData name="K M Rahaman" userId="d5522254b8323d27" providerId="LiveId" clId="{FD9B0772-4A7B-4F41-BA42-93F45BDEAA6D}" dt="2021-02-25T07:07:27.550" v="2951" actId="478"/>
          <ac:grpSpMkLst>
            <pc:docMk/>
            <pc:sldMk cId="424418358" sldId="258"/>
            <ac:grpSpMk id="11" creationId="{D7EECC47-586A-4BFF-8568-7A51D43D7E71}"/>
          </ac:grpSpMkLst>
        </pc:grpChg>
        <pc:grpChg chg="del">
          <ac:chgData name="K M Rahaman" userId="d5522254b8323d27" providerId="LiveId" clId="{FD9B0772-4A7B-4F41-BA42-93F45BDEAA6D}" dt="2021-02-25T07:08:20.205" v="2963" actId="478"/>
          <ac:grpSpMkLst>
            <pc:docMk/>
            <pc:sldMk cId="424418358" sldId="258"/>
            <ac:grpSpMk id="18" creationId="{3D7DF5CA-A9A1-47D1-9BCA-74EB83FF4C05}"/>
          </ac:grpSpMkLst>
        </pc:grpChg>
        <pc:grpChg chg="add del">
          <ac:chgData name="K M Rahaman" userId="d5522254b8323d27" providerId="LiveId" clId="{FD9B0772-4A7B-4F41-BA42-93F45BDEAA6D}" dt="2021-02-25T07:08:22.753" v="2964" actId="478"/>
          <ac:grpSpMkLst>
            <pc:docMk/>
            <pc:sldMk cId="424418358" sldId="258"/>
            <ac:grpSpMk id="30" creationId="{1FB116E1-C80A-466A-9625-9081569E53A0}"/>
          </ac:grpSpMkLst>
        </pc:grpChg>
        <pc:grpChg chg="del">
          <ac:chgData name="K M Rahaman" userId="d5522254b8323d27" providerId="LiveId" clId="{FD9B0772-4A7B-4F41-BA42-93F45BDEAA6D}" dt="2021-02-25T07:14:46.067" v="3027" actId="478"/>
          <ac:grpSpMkLst>
            <pc:docMk/>
            <pc:sldMk cId="424418358" sldId="258"/>
            <ac:grpSpMk id="47" creationId="{F0ABBA7E-8488-4E06-84DB-1F9D411B6014}"/>
          </ac:grpSpMkLst>
        </pc:grpChg>
        <pc:grpChg chg="del">
          <ac:chgData name="K M Rahaman" userId="d5522254b8323d27" providerId="LiveId" clId="{FD9B0772-4A7B-4F41-BA42-93F45BDEAA6D}" dt="2021-02-25T07:14:48.453" v="3028" actId="478"/>
          <ac:grpSpMkLst>
            <pc:docMk/>
            <pc:sldMk cId="424418358" sldId="258"/>
            <ac:grpSpMk id="48" creationId="{2548E1C7-F1D4-43E4-BEF8-E1F37D79D1DC}"/>
          </ac:grpSpMkLst>
        </pc:grpChg>
        <pc:grpChg chg="del">
          <ac:chgData name="K M Rahaman" userId="d5522254b8323d27" providerId="LiveId" clId="{FD9B0772-4A7B-4F41-BA42-93F45BDEAA6D}" dt="2021-02-25T07:14:53.260" v="3030" actId="478"/>
          <ac:grpSpMkLst>
            <pc:docMk/>
            <pc:sldMk cId="424418358" sldId="258"/>
            <ac:grpSpMk id="51" creationId="{51F5590F-5865-4B87-99D6-2FF04270D183}"/>
          </ac:grpSpMkLst>
        </pc:grpChg>
        <pc:grpChg chg="del">
          <ac:chgData name="K M Rahaman" userId="d5522254b8323d27" providerId="LiveId" clId="{FD9B0772-4A7B-4F41-BA42-93F45BDEAA6D}" dt="2021-02-25T07:14:51.286" v="3029" actId="478"/>
          <ac:grpSpMkLst>
            <pc:docMk/>
            <pc:sldMk cId="424418358" sldId="258"/>
            <ac:grpSpMk id="54" creationId="{960C18BF-5451-4C33-86D5-8246B4CBE3C6}"/>
          </ac:grpSpMkLst>
        </pc:grpChg>
        <pc:grpChg chg="del">
          <ac:chgData name="K M Rahaman" userId="d5522254b8323d27" providerId="LiveId" clId="{FD9B0772-4A7B-4F41-BA42-93F45BDEAA6D}" dt="2021-02-25T07:07:37.650" v="2953" actId="478"/>
          <ac:grpSpMkLst>
            <pc:docMk/>
            <pc:sldMk cId="424418358" sldId="258"/>
            <ac:grpSpMk id="69" creationId="{6201FC5D-420B-423A-ADDB-6270083B521D}"/>
          </ac:grpSpMkLst>
        </pc:grpChg>
        <pc:grpChg chg="del">
          <ac:chgData name="K M Rahaman" userId="d5522254b8323d27" providerId="LiveId" clId="{FD9B0772-4A7B-4F41-BA42-93F45BDEAA6D}" dt="2021-02-25T07:07:34.200" v="2952" actId="478"/>
          <ac:grpSpMkLst>
            <pc:docMk/>
            <pc:sldMk cId="424418358" sldId="258"/>
            <ac:grpSpMk id="76" creationId="{736AF0D5-39D9-4E95-BDC8-AC844DE131A6}"/>
          </ac:grpSpMkLst>
        </pc:grpChg>
        <pc:grpChg chg="add del">
          <ac:chgData name="K M Rahaman" userId="d5522254b8323d27" providerId="LiveId" clId="{FD9B0772-4A7B-4F41-BA42-93F45BDEAA6D}" dt="2021-02-25T07:07:51.518" v="2956" actId="478"/>
          <ac:grpSpMkLst>
            <pc:docMk/>
            <pc:sldMk cId="424418358" sldId="258"/>
            <ac:grpSpMk id="79" creationId="{A61586A4-EBD2-47A5-96A4-D24508D03292}"/>
          </ac:grpSpMkLst>
        </pc:grpChg>
        <pc:grpChg chg="del">
          <ac:chgData name="K M Rahaman" userId="d5522254b8323d27" providerId="LiveId" clId="{FD9B0772-4A7B-4F41-BA42-93F45BDEAA6D}" dt="2021-02-25T07:07:54.124" v="2957" actId="478"/>
          <ac:grpSpMkLst>
            <pc:docMk/>
            <pc:sldMk cId="424418358" sldId="258"/>
            <ac:grpSpMk id="83" creationId="{4646FC24-E193-441B-9CAE-395F2992C5D5}"/>
          </ac:grpSpMkLst>
        </pc:grpChg>
        <pc:grpChg chg="add del mod">
          <ac:chgData name="K M Rahaman" userId="d5522254b8323d27" providerId="LiveId" clId="{FD9B0772-4A7B-4F41-BA42-93F45BDEAA6D}" dt="2021-02-25T07:18:00.357" v="3038" actId="478"/>
          <ac:grpSpMkLst>
            <pc:docMk/>
            <pc:sldMk cId="424418358" sldId="258"/>
            <ac:grpSpMk id="91" creationId="{432D3668-8C16-4350-9434-41DE50F5897F}"/>
          </ac:grpSpMkLst>
        </pc:grpChg>
        <pc:grpChg chg="add mod">
          <ac:chgData name="K M Rahaman" userId="d5522254b8323d27" providerId="LiveId" clId="{FD9B0772-4A7B-4F41-BA42-93F45BDEAA6D}" dt="2021-02-25T08:17:23.893" v="4892" actId="1076"/>
          <ac:grpSpMkLst>
            <pc:docMk/>
            <pc:sldMk cId="424418358" sldId="258"/>
            <ac:grpSpMk id="94" creationId="{F8A9285E-6E36-4FDE-9CF2-A63533FF67FF}"/>
          </ac:grpSpMkLst>
        </pc:grpChg>
        <pc:grpChg chg="add mod">
          <ac:chgData name="K M Rahaman" userId="d5522254b8323d27" providerId="LiveId" clId="{FD9B0772-4A7B-4F41-BA42-93F45BDEAA6D}" dt="2021-02-25T08:17:13.632" v="4891" actId="1076"/>
          <ac:grpSpMkLst>
            <pc:docMk/>
            <pc:sldMk cId="424418358" sldId="258"/>
            <ac:grpSpMk id="97" creationId="{C26E56E0-E416-4D20-A183-D8D6B9BBDF52}"/>
          </ac:grpSpMkLst>
        </pc:grpChg>
        <pc:picChg chg="del">
          <ac:chgData name="K M Rahaman" userId="d5522254b8323d27" providerId="LiveId" clId="{FD9B0772-4A7B-4F41-BA42-93F45BDEAA6D}" dt="2021-02-25T07:10:34.230" v="2982" actId="478"/>
          <ac:picMkLst>
            <pc:docMk/>
            <pc:sldMk cId="424418358" sldId="258"/>
            <ac:picMk id="8" creationId="{C0F86256-52C9-43FD-AA05-16EAB7359BE0}"/>
          </ac:picMkLst>
        </pc:picChg>
        <pc:picChg chg="add del">
          <ac:chgData name="K M Rahaman" userId="d5522254b8323d27" providerId="LiveId" clId="{FD9B0772-4A7B-4F41-BA42-93F45BDEAA6D}" dt="2021-02-25T07:08:18.312" v="2962" actId="478"/>
          <ac:picMkLst>
            <pc:docMk/>
            <pc:sldMk cId="424418358" sldId="258"/>
            <ac:picMk id="17" creationId="{F7AE4EDE-2B1B-44BD-AA5E-B8AC55D52CF0}"/>
          </ac:picMkLst>
        </pc:picChg>
        <pc:picChg chg="add del mod">
          <ac:chgData name="K M Rahaman" userId="d5522254b8323d27" providerId="LiveId" clId="{FD9B0772-4A7B-4F41-BA42-93F45BDEAA6D}" dt="2021-02-25T07:13:34.915" v="3013"/>
          <ac:picMkLst>
            <pc:docMk/>
            <pc:sldMk cId="424418358" sldId="258"/>
            <ac:picMk id="19" creationId="{331CEE2A-AEC1-4139-BA43-254197B054FF}"/>
          </ac:picMkLst>
        </pc:picChg>
        <pc:picChg chg="del">
          <ac:chgData name="K M Rahaman" userId="d5522254b8323d27" providerId="LiveId" clId="{FD9B0772-4A7B-4F41-BA42-93F45BDEAA6D}" dt="2021-02-25T07:08:33.972" v="2967" actId="478"/>
          <ac:picMkLst>
            <pc:docMk/>
            <pc:sldMk cId="424418358" sldId="258"/>
            <ac:picMk id="39" creationId="{FC6A5658-46EE-4A8D-A62C-4E13114416C8}"/>
          </ac:picMkLst>
        </pc:picChg>
        <pc:picChg chg="mod">
          <ac:chgData name="K M Rahaman" userId="d5522254b8323d27" providerId="LiveId" clId="{FD9B0772-4A7B-4F41-BA42-93F45BDEAA6D}" dt="2021-02-25T07:14:26.893" v="3020"/>
          <ac:picMkLst>
            <pc:docMk/>
            <pc:sldMk cId="424418358" sldId="258"/>
            <ac:picMk id="92" creationId="{1E107AF0-3245-471F-ABD5-ADBEA4BED36B}"/>
          </ac:picMkLst>
        </pc:picChg>
        <pc:picChg chg="mod">
          <ac:chgData name="K M Rahaman" userId="d5522254b8323d27" providerId="LiveId" clId="{FD9B0772-4A7B-4F41-BA42-93F45BDEAA6D}" dt="2021-02-25T07:14:41.759" v="3025" actId="1076"/>
          <ac:picMkLst>
            <pc:docMk/>
            <pc:sldMk cId="424418358" sldId="258"/>
            <ac:picMk id="93" creationId="{ABBC35AD-6001-450A-A9D4-DDFD5D1475C8}"/>
          </ac:picMkLst>
        </pc:picChg>
        <pc:picChg chg="mod">
          <ac:chgData name="K M Rahaman" userId="d5522254b8323d27" providerId="LiveId" clId="{FD9B0772-4A7B-4F41-BA42-93F45BDEAA6D}" dt="2021-02-25T07:15:21.524" v="3034"/>
          <ac:picMkLst>
            <pc:docMk/>
            <pc:sldMk cId="424418358" sldId="258"/>
            <ac:picMk id="95" creationId="{F716CD33-D55F-470E-88C6-340518FE572A}"/>
          </ac:picMkLst>
        </pc:picChg>
        <pc:picChg chg="mod">
          <ac:chgData name="K M Rahaman" userId="d5522254b8323d27" providerId="LiveId" clId="{FD9B0772-4A7B-4F41-BA42-93F45BDEAA6D}" dt="2021-02-25T07:15:21.524" v="3034"/>
          <ac:picMkLst>
            <pc:docMk/>
            <pc:sldMk cId="424418358" sldId="258"/>
            <ac:picMk id="96" creationId="{F42DBC74-FAB4-4FA3-9BE0-091C582834AD}"/>
          </ac:picMkLst>
        </pc:picChg>
        <pc:picChg chg="mod">
          <ac:chgData name="K M Rahaman" userId="d5522254b8323d27" providerId="LiveId" clId="{FD9B0772-4A7B-4F41-BA42-93F45BDEAA6D}" dt="2021-02-25T07:18:14.515" v="3039"/>
          <ac:picMkLst>
            <pc:docMk/>
            <pc:sldMk cId="424418358" sldId="258"/>
            <ac:picMk id="98" creationId="{957F8722-39D6-4875-A6D3-E52861FF1D59}"/>
          </ac:picMkLst>
        </pc:picChg>
        <pc:picChg chg="mod">
          <ac:chgData name="K M Rahaman" userId="d5522254b8323d27" providerId="LiveId" clId="{FD9B0772-4A7B-4F41-BA42-93F45BDEAA6D}" dt="2021-02-25T07:18:14.515" v="3039"/>
          <ac:picMkLst>
            <pc:docMk/>
            <pc:sldMk cId="424418358" sldId="258"/>
            <ac:picMk id="99" creationId="{74CEC848-A51D-4130-B853-7F16902D2009}"/>
          </ac:picMkLst>
        </pc:picChg>
        <pc:cxnChg chg="del">
          <ac:chgData name="K M Rahaman" userId="d5522254b8323d27" providerId="LiveId" clId="{FD9B0772-4A7B-4F41-BA42-93F45BDEAA6D}" dt="2021-02-25T07:10:43.114" v="2986" actId="478"/>
          <ac:cxnSpMkLst>
            <pc:docMk/>
            <pc:sldMk cId="424418358" sldId="258"/>
            <ac:cxnSpMk id="9" creationId="{9C448A57-7D8D-42BF-9D6F-2C9E662E03FF}"/>
          </ac:cxnSpMkLst>
        </pc:cxnChg>
        <pc:cxnChg chg="mod">
          <ac:chgData name="K M Rahaman" userId="d5522254b8323d27" providerId="LiveId" clId="{FD9B0772-4A7B-4F41-BA42-93F45BDEAA6D}" dt="2021-02-25T08:39:15.193" v="5187" actId="1076"/>
          <ac:cxnSpMkLst>
            <pc:docMk/>
            <pc:sldMk cId="424418358" sldId="258"/>
            <ac:cxnSpMk id="65" creationId="{786392C1-510A-467B-865C-E843DF362A7C}"/>
          </ac:cxnSpMkLst>
        </pc:cxnChg>
        <pc:cxnChg chg="mod">
          <ac:chgData name="K M Rahaman" userId="d5522254b8323d27" providerId="LiveId" clId="{FD9B0772-4A7B-4F41-BA42-93F45BDEAA6D}" dt="2021-02-25T08:35:48.317" v="5120" actId="1076"/>
          <ac:cxnSpMkLst>
            <pc:docMk/>
            <pc:sldMk cId="424418358" sldId="258"/>
            <ac:cxnSpMk id="67" creationId="{BF71ADC0-FE61-4610-9025-F3A0E21F5246}"/>
          </ac:cxnSpMkLst>
        </pc:cxnChg>
      </pc:sldChg>
      <pc:sldChg chg="modSp mod">
        <pc:chgData name="K M Rahaman" userId="d5522254b8323d27" providerId="LiveId" clId="{FD9B0772-4A7B-4F41-BA42-93F45BDEAA6D}" dt="2021-02-26T17:55:11.991" v="7924" actId="114"/>
        <pc:sldMkLst>
          <pc:docMk/>
          <pc:sldMk cId="3527299565" sldId="259"/>
        </pc:sldMkLst>
        <pc:spChg chg="mod">
          <ac:chgData name="K M Rahaman" userId="d5522254b8323d27" providerId="LiveId" clId="{FD9B0772-4A7B-4F41-BA42-93F45BDEAA6D}" dt="2021-02-25T09:00:49.687" v="5321" actId="121"/>
          <ac:spMkLst>
            <pc:docMk/>
            <pc:sldMk cId="3527299565" sldId="259"/>
            <ac:spMk id="66" creationId="{EB2D913B-6EEF-4B66-9A3E-17021769FBAE}"/>
          </ac:spMkLst>
        </pc:spChg>
        <pc:spChg chg="mod">
          <ac:chgData name="K M Rahaman" userId="d5522254b8323d27" providerId="LiveId" clId="{FD9B0772-4A7B-4F41-BA42-93F45BDEAA6D}" dt="2021-02-26T17:55:11.991" v="7924" actId="114"/>
          <ac:spMkLst>
            <pc:docMk/>
            <pc:sldMk cId="3527299565" sldId="259"/>
            <ac:spMk id="105" creationId="{7094F5E4-C168-4887-B725-92970784A3C9}"/>
          </ac:spMkLst>
        </pc:spChg>
      </pc:sldChg>
      <pc:sldChg chg="addSp delSp modSp mod">
        <pc:chgData name="K M Rahaman" userId="d5522254b8323d27" providerId="LiveId" clId="{FD9B0772-4A7B-4F41-BA42-93F45BDEAA6D}" dt="2021-02-26T17:00:04.686" v="7585" actId="1076"/>
        <pc:sldMkLst>
          <pc:docMk/>
          <pc:sldMk cId="4166614181" sldId="262"/>
        </pc:sldMkLst>
        <pc:spChg chg="mod">
          <ac:chgData name="K M Rahaman" userId="d5522254b8323d27" providerId="LiveId" clId="{FD9B0772-4A7B-4F41-BA42-93F45BDEAA6D}" dt="2021-02-26T17:00:04.686" v="7585" actId="1076"/>
          <ac:spMkLst>
            <pc:docMk/>
            <pc:sldMk cId="4166614181" sldId="262"/>
            <ac:spMk id="2" creationId="{D3DE402E-115B-46FF-AB39-DD24FA865210}"/>
          </ac:spMkLst>
        </pc:spChg>
        <pc:spChg chg="add del">
          <ac:chgData name="K M Rahaman" userId="d5522254b8323d27" providerId="LiveId" clId="{FD9B0772-4A7B-4F41-BA42-93F45BDEAA6D}" dt="2021-02-23T14:12:03.040" v="1217" actId="478"/>
          <ac:spMkLst>
            <pc:docMk/>
            <pc:sldMk cId="4166614181" sldId="262"/>
            <ac:spMk id="4" creationId="{3F3B874E-2A87-476D-B2BA-839F6883B4C9}"/>
          </ac:spMkLst>
        </pc:spChg>
        <pc:spChg chg="mod">
          <ac:chgData name="K M Rahaman" userId="d5522254b8323d27" providerId="LiveId" clId="{FD9B0772-4A7B-4F41-BA42-93F45BDEAA6D}" dt="2021-02-26T16:56:21.541" v="7574" actId="20577"/>
          <ac:spMkLst>
            <pc:docMk/>
            <pc:sldMk cId="4166614181" sldId="262"/>
            <ac:spMk id="65" creationId="{0524C9DB-5079-4083-A5FA-6E105FA8FA63}"/>
          </ac:spMkLst>
        </pc:spChg>
        <pc:spChg chg="mod">
          <ac:chgData name="K M Rahaman" userId="d5522254b8323d27" providerId="LiveId" clId="{FD9B0772-4A7B-4F41-BA42-93F45BDEAA6D}" dt="2021-02-23T12:09:24.117" v="392" actId="20577"/>
          <ac:spMkLst>
            <pc:docMk/>
            <pc:sldMk cId="4166614181" sldId="262"/>
            <ac:spMk id="66" creationId="{725D2436-862F-4D4A-8819-17899C44C235}"/>
          </ac:spMkLst>
        </pc:spChg>
        <pc:spChg chg="mod">
          <ac:chgData name="K M Rahaman" userId="d5522254b8323d27" providerId="LiveId" clId="{FD9B0772-4A7B-4F41-BA42-93F45BDEAA6D}" dt="2021-02-23T13:49:32.861" v="773" actId="20577"/>
          <ac:spMkLst>
            <pc:docMk/>
            <pc:sldMk cId="4166614181" sldId="262"/>
            <ac:spMk id="73" creationId="{3FE1BE30-9363-4C50-8089-AD798818A1E6}"/>
          </ac:spMkLst>
        </pc:spChg>
        <pc:spChg chg="mod">
          <ac:chgData name="K M Rahaman" userId="d5522254b8323d27" providerId="LiveId" clId="{FD9B0772-4A7B-4F41-BA42-93F45BDEAA6D}" dt="2021-02-23T13:50:27.690" v="784" actId="20577"/>
          <ac:spMkLst>
            <pc:docMk/>
            <pc:sldMk cId="4166614181" sldId="262"/>
            <ac:spMk id="74" creationId="{EAC22048-C3E6-4582-A967-CBB6FD2C2D26}"/>
          </ac:spMkLst>
        </pc:spChg>
        <pc:spChg chg="mod">
          <ac:chgData name="K M Rahaman" userId="d5522254b8323d27" providerId="LiveId" clId="{FD9B0772-4A7B-4F41-BA42-93F45BDEAA6D}" dt="2021-02-25T09:44:56.925" v="7087" actId="20577"/>
          <ac:spMkLst>
            <pc:docMk/>
            <pc:sldMk cId="4166614181" sldId="262"/>
            <ac:spMk id="79" creationId="{8D6F9E67-FE87-405D-91F1-78FCBA9B69CA}"/>
          </ac:spMkLst>
        </pc:spChg>
        <pc:spChg chg="mod">
          <ac:chgData name="K M Rahaman" userId="d5522254b8323d27" providerId="LiveId" clId="{FD9B0772-4A7B-4F41-BA42-93F45BDEAA6D}" dt="2021-02-23T13:52:29.773" v="824" actId="20577"/>
          <ac:spMkLst>
            <pc:docMk/>
            <pc:sldMk cId="4166614181" sldId="262"/>
            <ac:spMk id="80" creationId="{C02713E0-2180-4768-87D9-5F04EDD85A65}"/>
          </ac:spMkLst>
        </pc:spChg>
        <pc:grpChg chg="mod">
          <ac:chgData name="K M Rahaman" userId="d5522254b8323d27" providerId="LiveId" clId="{FD9B0772-4A7B-4F41-BA42-93F45BDEAA6D}" dt="2021-02-26T16:59:41.163" v="7584" actId="14100"/>
          <ac:grpSpMkLst>
            <pc:docMk/>
            <pc:sldMk cId="4166614181" sldId="262"/>
            <ac:grpSpMk id="70" creationId="{48407126-769B-4161-999F-1D817F20D513}"/>
          </ac:grpSpMkLst>
        </pc:grpChg>
        <pc:grpChg chg="mod">
          <ac:chgData name="K M Rahaman" userId="d5522254b8323d27" providerId="LiveId" clId="{FD9B0772-4A7B-4F41-BA42-93F45BDEAA6D}" dt="2021-02-26T16:57:54.124" v="7578" actId="1076"/>
          <ac:grpSpMkLst>
            <pc:docMk/>
            <pc:sldMk cId="4166614181" sldId="262"/>
            <ac:grpSpMk id="71" creationId="{8A6648AA-9A46-49F7-8AD9-640D75CA1C4F}"/>
          </ac:grpSpMkLst>
        </pc:grpChg>
        <pc:grpChg chg="mod">
          <ac:chgData name="K M Rahaman" userId="d5522254b8323d27" providerId="LiveId" clId="{FD9B0772-4A7B-4F41-BA42-93F45BDEAA6D}" dt="2021-02-26T16:58:10.548" v="7579" actId="14100"/>
          <ac:grpSpMkLst>
            <pc:docMk/>
            <pc:sldMk cId="4166614181" sldId="262"/>
            <ac:grpSpMk id="77" creationId="{2F909510-F291-4E4A-A8FD-48BC9451DB8E}"/>
          </ac:grpSpMkLst>
        </pc:grpChg>
        <pc:picChg chg="add del">
          <ac:chgData name="K M Rahaman" userId="d5522254b8323d27" providerId="LiveId" clId="{FD9B0772-4A7B-4F41-BA42-93F45BDEAA6D}" dt="2021-02-23T14:12:10.321" v="1218" actId="478"/>
          <ac:picMkLst>
            <pc:docMk/>
            <pc:sldMk cId="4166614181" sldId="262"/>
            <ac:picMk id="3" creationId="{B561A911-7C19-4FAE-998C-60FB6BA07E68}"/>
          </ac:picMkLst>
        </pc:picChg>
      </pc:sldChg>
      <pc:sldChg chg="addSp delSp modSp mod">
        <pc:chgData name="K M Rahaman" userId="d5522254b8323d27" providerId="LiveId" clId="{FD9B0772-4A7B-4F41-BA42-93F45BDEAA6D}" dt="2021-02-25T07:10:21.043" v="2981" actId="14100"/>
        <pc:sldMkLst>
          <pc:docMk/>
          <pc:sldMk cId="4202762094" sldId="263"/>
        </pc:sldMkLst>
        <pc:spChg chg="add mod">
          <ac:chgData name="K M Rahaman" userId="d5522254b8323d27" providerId="LiveId" clId="{FD9B0772-4A7B-4F41-BA42-93F45BDEAA6D}" dt="2021-02-24T07:21:06.221" v="2695" actId="20577"/>
          <ac:spMkLst>
            <pc:docMk/>
            <pc:sldMk cId="4202762094" sldId="263"/>
            <ac:spMk id="2" creationId="{BF6DEF8C-B484-4DCE-876C-A2A4B887A1A2}"/>
          </ac:spMkLst>
        </pc:spChg>
        <pc:spChg chg="del mod">
          <ac:chgData name="K M Rahaman" userId="d5522254b8323d27" providerId="LiveId" clId="{FD9B0772-4A7B-4F41-BA42-93F45BDEAA6D}" dt="2021-02-23T14:20:13.011" v="1236" actId="478"/>
          <ac:spMkLst>
            <pc:docMk/>
            <pc:sldMk cId="4202762094" sldId="263"/>
            <ac:spMk id="4" creationId="{98A74DB1-3766-4DE9-A8EA-1045C7C4069A}"/>
          </ac:spMkLst>
        </pc:spChg>
        <pc:spChg chg="del mod">
          <ac:chgData name="K M Rahaman" userId="d5522254b8323d27" providerId="LiveId" clId="{FD9B0772-4A7B-4F41-BA42-93F45BDEAA6D}" dt="2021-02-24T06:54:30.727" v="2587" actId="478"/>
          <ac:spMkLst>
            <pc:docMk/>
            <pc:sldMk cId="4202762094" sldId="263"/>
            <ac:spMk id="5" creationId="{D92DBBBF-A7DF-4A50-AE67-B2A352C41098}"/>
          </ac:spMkLst>
        </pc:spChg>
        <pc:spChg chg="del">
          <ac:chgData name="K M Rahaman" userId="d5522254b8323d27" providerId="LiveId" clId="{FD9B0772-4A7B-4F41-BA42-93F45BDEAA6D}" dt="2021-02-24T06:54:34.822" v="2588" actId="478"/>
          <ac:spMkLst>
            <pc:docMk/>
            <pc:sldMk cId="4202762094" sldId="263"/>
            <ac:spMk id="6" creationId="{C74B715A-82EE-4227-A9D2-D75BABC9E317}"/>
          </ac:spMkLst>
        </pc:spChg>
        <pc:spChg chg="mod">
          <ac:chgData name="K M Rahaman" userId="d5522254b8323d27" providerId="LiveId" clId="{FD9B0772-4A7B-4F41-BA42-93F45BDEAA6D}" dt="2021-02-23T14:21:00.831" v="1240" actId="1076"/>
          <ac:spMkLst>
            <pc:docMk/>
            <pc:sldMk cId="4202762094" sldId="263"/>
            <ac:spMk id="13" creationId="{F14FA950-7F46-4EEF-AA1E-EA24896F5ADB}"/>
          </ac:spMkLst>
        </pc:spChg>
        <pc:spChg chg="add del mod">
          <ac:chgData name="K M Rahaman" userId="d5522254b8323d27" providerId="LiveId" clId="{FD9B0772-4A7B-4F41-BA42-93F45BDEAA6D}" dt="2021-02-24T07:18:26.056" v="2673"/>
          <ac:spMkLst>
            <pc:docMk/>
            <pc:sldMk cId="4202762094" sldId="263"/>
            <ac:spMk id="40" creationId="{1B02F3FD-E1D3-4B49-91DB-E530187C48B5}"/>
          </ac:spMkLst>
        </pc:spChg>
        <pc:spChg chg="add mod">
          <ac:chgData name="K M Rahaman" userId="d5522254b8323d27" providerId="LiveId" clId="{FD9B0772-4A7B-4F41-BA42-93F45BDEAA6D}" dt="2021-02-24T07:21:14.259" v="2698" actId="20577"/>
          <ac:spMkLst>
            <pc:docMk/>
            <pc:sldMk cId="4202762094" sldId="263"/>
            <ac:spMk id="42" creationId="{90E727EC-F1B7-4A71-8E25-AB061E224197}"/>
          </ac:spMkLst>
        </pc:spChg>
        <pc:spChg chg="add mod">
          <ac:chgData name="K M Rahaman" userId="d5522254b8323d27" providerId="LiveId" clId="{FD9B0772-4A7B-4F41-BA42-93F45BDEAA6D}" dt="2021-02-24T07:21:20.565" v="2701" actId="20577"/>
          <ac:spMkLst>
            <pc:docMk/>
            <pc:sldMk cId="4202762094" sldId="263"/>
            <ac:spMk id="43" creationId="{7E1A5127-84BA-4F5C-AD66-6C72075F3394}"/>
          </ac:spMkLst>
        </pc:spChg>
        <pc:spChg chg="add mod">
          <ac:chgData name="K M Rahaman" userId="d5522254b8323d27" providerId="LiveId" clId="{FD9B0772-4A7B-4F41-BA42-93F45BDEAA6D}" dt="2021-02-24T07:21:27.382" v="2704" actId="20577"/>
          <ac:spMkLst>
            <pc:docMk/>
            <pc:sldMk cId="4202762094" sldId="263"/>
            <ac:spMk id="44" creationId="{9A948E92-B47F-40FE-B4B7-A00AD1D0FB20}"/>
          </ac:spMkLst>
        </pc:spChg>
        <pc:spChg chg="mod">
          <ac:chgData name="K M Rahaman" userId="d5522254b8323d27" providerId="LiveId" clId="{FD9B0772-4A7B-4F41-BA42-93F45BDEAA6D}" dt="2021-02-24T05:24:46.726" v="1476" actId="20577"/>
          <ac:spMkLst>
            <pc:docMk/>
            <pc:sldMk cId="4202762094" sldId="263"/>
            <ac:spMk id="53" creationId="{7A7CC297-B50E-4B18-B4AF-D63A2A224E30}"/>
          </ac:spMkLst>
        </pc:spChg>
        <pc:spChg chg="mod">
          <ac:chgData name="K M Rahaman" userId="d5522254b8323d27" providerId="LiveId" clId="{FD9B0772-4A7B-4F41-BA42-93F45BDEAA6D}" dt="2021-02-24T05:24:16.380" v="1460" actId="255"/>
          <ac:spMkLst>
            <pc:docMk/>
            <pc:sldMk cId="4202762094" sldId="263"/>
            <ac:spMk id="54" creationId="{0EA40D4D-8FC4-4176-9016-40C896B0AB0B}"/>
          </ac:spMkLst>
        </pc:spChg>
        <pc:spChg chg="add del mod topLvl">
          <ac:chgData name="K M Rahaman" userId="d5522254b8323d27" providerId="LiveId" clId="{FD9B0772-4A7B-4F41-BA42-93F45BDEAA6D}" dt="2021-02-24T07:15:54.558" v="2649" actId="478"/>
          <ac:spMkLst>
            <pc:docMk/>
            <pc:sldMk cId="4202762094" sldId="263"/>
            <ac:spMk id="65" creationId="{FA5D6469-D60D-4B38-89F1-8AC8BFE48C44}"/>
          </ac:spMkLst>
        </pc:spChg>
        <pc:spChg chg="mod topLvl">
          <ac:chgData name="K M Rahaman" userId="d5522254b8323d27" providerId="LiveId" clId="{FD9B0772-4A7B-4F41-BA42-93F45BDEAA6D}" dt="2021-02-24T07:15:54.558" v="2649" actId="478"/>
          <ac:spMkLst>
            <pc:docMk/>
            <pc:sldMk cId="4202762094" sldId="263"/>
            <ac:spMk id="69" creationId="{8A39906C-AB0C-48DE-B22E-D3B151894EB6}"/>
          </ac:spMkLst>
        </pc:spChg>
        <pc:spChg chg="mod">
          <ac:chgData name="K M Rahaman" userId="d5522254b8323d27" providerId="LiveId" clId="{FD9B0772-4A7B-4F41-BA42-93F45BDEAA6D}" dt="2021-02-24T06:33:42.191" v="2193" actId="14100"/>
          <ac:spMkLst>
            <pc:docMk/>
            <pc:sldMk cId="4202762094" sldId="263"/>
            <ac:spMk id="80" creationId="{67843A35-E4B6-4D9B-8B84-6C5B0E8CAFE8}"/>
          </ac:spMkLst>
        </pc:spChg>
        <pc:spChg chg="mod">
          <ac:chgData name="K M Rahaman" userId="d5522254b8323d27" providerId="LiveId" clId="{FD9B0772-4A7B-4F41-BA42-93F45BDEAA6D}" dt="2021-02-24T06:33:19.607" v="2191" actId="14100"/>
          <ac:spMkLst>
            <pc:docMk/>
            <pc:sldMk cId="4202762094" sldId="263"/>
            <ac:spMk id="81" creationId="{FBC8C79A-262A-4117-A1D6-0B7D655FBE45}"/>
          </ac:spMkLst>
        </pc:spChg>
        <pc:spChg chg="mod">
          <ac:chgData name="K M Rahaman" userId="d5522254b8323d27" providerId="LiveId" clId="{FD9B0772-4A7B-4F41-BA42-93F45BDEAA6D}" dt="2021-02-24T07:04:54.543" v="2605" actId="14100"/>
          <ac:spMkLst>
            <pc:docMk/>
            <pc:sldMk cId="4202762094" sldId="263"/>
            <ac:spMk id="82" creationId="{5A15F938-4129-4889-B904-D2F025CFD15D}"/>
          </ac:spMkLst>
        </pc:spChg>
        <pc:spChg chg="del">
          <ac:chgData name="K M Rahaman" userId="d5522254b8323d27" providerId="LiveId" clId="{FD9B0772-4A7B-4F41-BA42-93F45BDEAA6D}" dt="2021-02-24T07:16:00.482" v="2651" actId="478"/>
          <ac:spMkLst>
            <pc:docMk/>
            <pc:sldMk cId="4202762094" sldId="263"/>
            <ac:spMk id="90" creationId="{11306065-5F26-4265-8651-8234F0AD0CED}"/>
          </ac:spMkLst>
        </pc:spChg>
        <pc:spChg chg="del">
          <ac:chgData name="K M Rahaman" userId="d5522254b8323d27" providerId="LiveId" clId="{FD9B0772-4A7B-4F41-BA42-93F45BDEAA6D}" dt="2021-02-24T07:16:02.193" v="2652" actId="478"/>
          <ac:spMkLst>
            <pc:docMk/>
            <pc:sldMk cId="4202762094" sldId="263"/>
            <ac:spMk id="91" creationId="{14FC320B-EFF4-4CF4-8906-3BAC763836BB}"/>
          </ac:spMkLst>
        </pc:spChg>
        <pc:spChg chg="mod">
          <ac:chgData name="K M Rahaman" userId="d5522254b8323d27" providerId="LiveId" clId="{FD9B0772-4A7B-4F41-BA42-93F45BDEAA6D}" dt="2021-02-25T07:10:21.043" v="2981" actId="14100"/>
          <ac:spMkLst>
            <pc:docMk/>
            <pc:sldMk cId="4202762094" sldId="263"/>
            <ac:spMk id="100" creationId="{31215480-8860-4C85-8AF2-C7F165EA9903}"/>
          </ac:spMkLst>
        </pc:spChg>
        <pc:grpChg chg="del">
          <ac:chgData name="K M Rahaman" userId="d5522254b8323d27" providerId="LiveId" clId="{FD9B0772-4A7B-4F41-BA42-93F45BDEAA6D}" dt="2021-02-23T14:22:06.827" v="1245" actId="478"/>
          <ac:grpSpMkLst>
            <pc:docMk/>
            <pc:sldMk cId="4202762094" sldId="263"/>
            <ac:grpSpMk id="49" creationId="{CE81B219-03AD-4342-AB92-D8EAD1A0162B}"/>
          </ac:grpSpMkLst>
        </pc:grpChg>
        <pc:grpChg chg="add del">
          <ac:chgData name="K M Rahaman" userId="d5522254b8323d27" providerId="LiveId" clId="{FD9B0772-4A7B-4F41-BA42-93F45BDEAA6D}" dt="2021-02-24T07:15:54.558" v="2649" actId="478"/>
          <ac:grpSpMkLst>
            <pc:docMk/>
            <pc:sldMk cId="4202762094" sldId="263"/>
            <ac:grpSpMk id="70" creationId="{DBDDC326-0832-4F83-91E6-5F96B02953F0}"/>
          </ac:grpSpMkLst>
        </pc:grpChg>
        <pc:grpChg chg="del">
          <ac:chgData name="K M Rahaman" userId="d5522254b8323d27" providerId="LiveId" clId="{FD9B0772-4A7B-4F41-BA42-93F45BDEAA6D}" dt="2021-02-24T07:15:57.693" v="2650" actId="478"/>
          <ac:grpSpMkLst>
            <pc:docMk/>
            <pc:sldMk cId="4202762094" sldId="263"/>
            <ac:grpSpMk id="87" creationId="{51FD8D5F-74B8-4134-B17D-3757EB4E7B5B}"/>
          </ac:grpSpMkLst>
        </pc:grpChg>
        <pc:grpChg chg="del">
          <ac:chgData name="K M Rahaman" userId="d5522254b8323d27" providerId="LiveId" clId="{FD9B0772-4A7B-4F41-BA42-93F45BDEAA6D}" dt="2021-02-24T07:16:03.698" v="2653" actId="478"/>
          <ac:grpSpMkLst>
            <pc:docMk/>
            <pc:sldMk cId="4202762094" sldId="263"/>
            <ac:grpSpMk id="92" creationId="{FAE686F1-9476-4322-83A9-D6227997DA11}"/>
          </ac:grpSpMkLst>
        </pc:grpChg>
        <pc:grpChg chg="add mod">
          <ac:chgData name="K M Rahaman" userId="d5522254b8323d27" providerId="LiveId" clId="{FD9B0772-4A7B-4F41-BA42-93F45BDEAA6D}" dt="2021-02-24T07:12:43.728" v="2644" actId="1076"/>
          <ac:grpSpMkLst>
            <pc:docMk/>
            <pc:sldMk cId="4202762094" sldId="263"/>
            <ac:grpSpMk id="96" creationId="{46211C1D-FCE9-4A1F-82CD-E86041FB31F5}"/>
          </ac:grpSpMkLst>
        </pc:grpChg>
        <pc:grpChg chg="add mod">
          <ac:chgData name="K M Rahaman" userId="d5522254b8323d27" providerId="LiveId" clId="{FD9B0772-4A7B-4F41-BA42-93F45BDEAA6D}" dt="2021-02-25T07:09:39.731" v="2975" actId="1076"/>
          <ac:grpSpMkLst>
            <pc:docMk/>
            <pc:sldMk cId="4202762094" sldId="263"/>
            <ac:grpSpMk id="101" creationId="{0F60E482-57DC-4935-A68D-996D94C96472}"/>
          </ac:grpSpMkLst>
        </pc:grpChg>
        <pc:picChg chg="del">
          <ac:chgData name="K M Rahaman" userId="d5522254b8323d27" providerId="LiveId" clId="{FD9B0772-4A7B-4F41-BA42-93F45BDEAA6D}" dt="2021-02-23T14:20:01.903" v="1233" actId="478"/>
          <ac:picMkLst>
            <pc:docMk/>
            <pc:sldMk cId="4202762094" sldId="263"/>
            <ac:picMk id="7" creationId="{C4050B5A-E38E-4F02-BBC2-6C16325F600F}"/>
          </ac:picMkLst>
        </pc:picChg>
        <pc:picChg chg="mod">
          <ac:chgData name="K M Rahaman" userId="d5522254b8323d27" providerId="LiveId" clId="{FD9B0772-4A7B-4F41-BA42-93F45BDEAA6D}" dt="2021-02-23T14:21:01.534" v="1241" actId="1076"/>
          <ac:picMkLst>
            <pc:docMk/>
            <pc:sldMk cId="4202762094" sldId="263"/>
            <ac:picMk id="12" creationId="{607912A4-E8B0-416E-BBC2-8948A0278008}"/>
          </ac:picMkLst>
        </pc:picChg>
        <pc:picChg chg="mod">
          <ac:chgData name="K M Rahaman" userId="d5522254b8323d27" providerId="LiveId" clId="{FD9B0772-4A7B-4F41-BA42-93F45BDEAA6D}" dt="2021-02-24T07:12:24.575" v="2643" actId="14100"/>
          <ac:picMkLst>
            <pc:docMk/>
            <pc:sldMk cId="4202762094" sldId="263"/>
            <ac:picMk id="97" creationId="{F824AE45-096F-44F7-855E-8CF2A5685559}"/>
          </ac:picMkLst>
        </pc:picChg>
        <pc:picChg chg="mod">
          <ac:chgData name="K M Rahaman" userId="d5522254b8323d27" providerId="LiveId" clId="{FD9B0772-4A7B-4F41-BA42-93F45BDEAA6D}" dt="2021-02-24T07:12:12.855" v="2641" actId="1076"/>
          <ac:picMkLst>
            <pc:docMk/>
            <pc:sldMk cId="4202762094" sldId="263"/>
            <ac:picMk id="98" creationId="{0A85BA49-2B7D-41AF-9CA1-E4D4AF0F9703}"/>
          </ac:picMkLst>
        </pc:picChg>
        <pc:picChg chg="add del mod">
          <ac:chgData name="K M Rahaman" userId="d5522254b8323d27" providerId="LiveId" clId="{FD9B0772-4A7B-4F41-BA42-93F45BDEAA6D}" dt="2021-02-25T07:10:09.458" v="2980" actId="478"/>
          <ac:picMkLst>
            <pc:docMk/>
            <pc:sldMk cId="4202762094" sldId="263"/>
            <ac:picMk id="99" creationId="{BD4F60EB-0EA9-4B07-83E2-EFA69963414D}"/>
          </ac:picMkLst>
        </pc:picChg>
        <pc:picChg chg="mod">
          <ac:chgData name="K M Rahaman" userId="d5522254b8323d27" providerId="LiveId" clId="{FD9B0772-4A7B-4F41-BA42-93F45BDEAA6D}" dt="2021-02-24T07:11:09.784" v="2634" actId="14100"/>
          <ac:picMkLst>
            <pc:docMk/>
            <pc:sldMk cId="4202762094" sldId="263"/>
            <ac:picMk id="102" creationId="{95E7B785-315E-4AAB-BBCF-44D3C4955DA2}"/>
          </ac:picMkLst>
        </pc:picChg>
        <pc:picChg chg="mod">
          <ac:chgData name="K M Rahaman" userId="d5522254b8323d27" providerId="LiveId" clId="{FD9B0772-4A7B-4F41-BA42-93F45BDEAA6D}" dt="2021-02-24T07:11:23.528" v="2636" actId="14100"/>
          <ac:picMkLst>
            <pc:docMk/>
            <pc:sldMk cId="4202762094" sldId="263"/>
            <ac:picMk id="103" creationId="{45F177B5-AFC5-44AD-A090-A7A8D09400E7}"/>
          </ac:picMkLst>
        </pc:picChg>
        <pc:cxnChg chg="del">
          <ac:chgData name="K M Rahaman" userId="d5522254b8323d27" providerId="LiveId" clId="{FD9B0772-4A7B-4F41-BA42-93F45BDEAA6D}" dt="2021-02-23T14:20:16.545" v="1237" actId="478"/>
          <ac:cxnSpMkLst>
            <pc:docMk/>
            <pc:sldMk cId="4202762094" sldId="263"/>
            <ac:cxnSpMk id="8" creationId="{1C025E1C-85A3-4C66-AAE1-620EC7077CA9}"/>
          </ac:cxnSpMkLst>
        </pc:cxnChg>
      </pc:sldChg>
      <pc:sldChg chg="del">
        <pc:chgData name="K M Rahaman" userId="d5522254b8323d27" providerId="LiveId" clId="{FD9B0772-4A7B-4F41-BA42-93F45BDEAA6D}" dt="2021-02-23T14:18:05.314" v="1219" actId="2696"/>
        <pc:sldMkLst>
          <pc:docMk/>
          <pc:sldMk cId="3971426118" sldId="264"/>
        </pc:sldMkLst>
      </pc:sldChg>
      <pc:sldChg chg="del">
        <pc:chgData name="K M Rahaman" userId="d5522254b8323d27" providerId="LiveId" clId="{FD9B0772-4A7B-4F41-BA42-93F45BDEAA6D}" dt="2021-02-26T17:44:03.814" v="7769" actId="2696"/>
        <pc:sldMkLst>
          <pc:docMk/>
          <pc:sldMk cId="4277900255" sldId="264"/>
        </pc:sldMkLst>
      </pc:sldChg>
      <pc:sldChg chg="modSp mod">
        <pc:chgData name="K M Rahaman" userId="d5522254b8323d27" providerId="LiveId" clId="{FD9B0772-4A7B-4F41-BA42-93F45BDEAA6D}" dt="2021-02-26T17:50:59.704" v="7923" actId="20577"/>
        <pc:sldMkLst>
          <pc:docMk/>
          <pc:sldMk cId="969906031" sldId="265"/>
        </pc:sldMkLst>
        <pc:spChg chg="mod">
          <ac:chgData name="K M Rahaman" userId="d5522254b8323d27" providerId="LiveId" clId="{FD9B0772-4A7B-4F41-BA42-93F45BDEAA6D}" dt="2021-02-25T09:00:40.199" v="5319" actId="121"/>
          <ac:spMkLst>
            <pc:docMk/>
            <pc:sldMk cId="969906031" sldId="265"/>
            <ac:spMk id="66" creationId="{EB2D913B-6EEF-4B66-9A3E-17021769FBAE}"/>
          </ac:spMkLst>
        </pc:spChg>
        <pc:spChg chg="mod">
          <ac:chgData name="K M Rahaman" userId="d5522254b8323d27" providerId="LiveId" clId="{FD9B0772-4A7B-4F41-BA42-93F45BDEAA6D}" dt="2021-02-26T17:50:59.704" v="7923" actId="20577"/>
          <ac:spMkLst>
            <pc:docMk/>
            <pc:sldMk cId="969906031" sldId="265"/>
            <ac:spMk id="83" creationId="{B64B5CBD-83E2-481E-A386-A039406F502F}"/>
          </ac:spMkLst>
        </pc:spChg>
        <pc:spChg chg="mod">
          <ac:chgData name="K M Rahaman" userId="d5522254b8323d27" providerId="LiveId" clId="{FD9B0772-4A7B-4F41-BA42-93F45BDEAA6D}" dt="2021-02-25T07:40:02.876" v="3580" actId="113"/>
          <ac:spMkLst>
            <pc:docMk/>
            <pc:sldMk cId="969906031" sldId="265"/>
            <ac:spMk id="85" creationId="{E47E059F-2215-4579-9F28-6801D34F6BFC}"/>
          </ac:spMkLst>
        </pc:spChg>
        <pc:spChg chg="mod">
          <ac:chgData name="K M Rahaman" userId="d5522254b8323d27" providerId="LiveId" clId="{FD9B0772-4A7B-4F41-BA42-93F45BDEAA6D}" dt="2021-02-26T17:48:45.453" v="7883" actId="113"/>
          <ac:spMkLst>
            <pc:docMk/>
            <pc:sldMk cId="969906031" sldId="265"/>
            <ac:spMk id="87" creationId="{FA757CD7-5E50-4B6E-8A97-086551B3DC07}"/>
          </ac:spMkLst>
        </pc:spChg>
      </pc:sldChg>
      <pc:sldChg chg="addSp delSp modSp del mod">
        <pc:chgData name="K M Rahaman" userId="d5522254b8323d27" providerId="LiveId" clId="{FD9B0772-4A7B-4F41-BA42-93F45BDEAA6D}" dt="2021-02-25T08:05:41.060" v="4484" actId="2696"/>
        <pc:sldMkLst>
          <pc:docMk/>
          <pc:sldMk cId="1945584022" sldId="266"/>
        </pc:sldMkLst>
        <pc:spChg chg="add mod">
          <ac:chgData name="K M Rahaman" userId="d5522254b8323d27" providerId="LiveId" clId="{FD9B0772-4A7B-4F41-BA42-93F45BDEAA6D}" dt="2021-02-25T07:03:46.969" v="2941" actId="114"/>
          <ac:spMkLst>
            <pc:docMk/>
            <pc:sldMk cId="1945584022" sldId="266"/>
            <ac:spMk id="13" creationId="{1303DC46-3387-47FD-8D79-CBA1D0D8F023}"/>
          </ac:spMkLst>
        </pc:spChg>
        <pc:spChg chg="mod">
          <ac:chgData name="K M Rahaman" userId="d5522254b8323d27" providerId="LiveId" clId="{FD9B0772-4A7B-4F41-BA42-93F45BDEAA6D}" dt="2021-02-25T07:04:19.364" v="2942" actId="14100"/>
          <ac:spMkLst>
            <pc:docMk/>
            <pc:sldMk cId="1945584022" sldId="266"/>
            <ac:spMk id="65" creationId="{A0A02496-88EA-4B41-9E5D-338FC62291EF}"/>
          </ac:spMkLst>
        </pc:spChg>
        <pc:spChg chg="mod">
          <ac:chgData name="K M Rahaman" userId="d5522254b8323d27" providerId="LiveId" clId="{FD9B0772-4A7B-4F41-BA42-93F45BDEAA6D}" dt="2021-02-25T07:03:18.639" v="2935" actId="255"/>
          <ac:spMkLst>
            <pc:docMk/>
            <pc:sldMk cId="1945584022" sldId="266"/>
            <ac:spMk id="66" creationId="{EB2D913B-6EEF-4B66-9A3E-17021769FBAE}"/>
          </ac:spMkLst>
        </pc:spChg>
        <pc:spChg chg="mod">
          <ac:chgData name="K M Rahaman" userId="d5522254b8323d27" providerId="LiveId" clId="{FD9B0772-4A7B-4F41-BA42-93F45BDEAA6D}" dt="2021-02-25T07:31:43.292" v="3415" actId="6549"/>
          <ac:spMkLst>
            <pc:docMk/>
            <pc:sldMk cId="1945584022" sldId="266"/>
            <ac:spMk id="87" creationId="{FA757CD7-5E50-4B6E-8A97-086551B3DC07}"/>
          </ac:spMkLst>
        </pc:spChg>
        <pc:grpChg chg="add mod">
          <ac:chgData name="K M Rahaman" userId="d5522254b8323d27" providerId="LiveId" clId="{FD9B0772-4A7B-4F41-BA42-93F45BDEAA6D}" dt="2021-02-25T07:07:03.702" v="2950" actId="1076"/>
          <ac:grpSpMkLst>
            <pc:docMk/>
            <pc:sldMk cId="1945584022" sldId="266"/>
            <ac:grpSpMk id="14" creationId="{DE981C48-4627-4148-9A89-88EE9E61CF90}"/>
          </ac:grpSpMkLst>
        </pc:grpChg>
        <pc:grpChg chg="mod">
          <ac:chgData name="K M Rahaman" userId="d5522254b8323d27" providerId="LiveId" clId="{FD9B0772-4A7B-4F41-BA42-93F45BDEAA6D}" dt="2021-02-25T07:06:55.310" v="2949" actId="1076"/>
          <ac:grpSpMkLst>
            <pc:docMk/>
            <pc:sldMk cId="1945584022" sldId="266"/>
            <ac:grpSpMk id="102" creationId="{0983DB6B-67BB-4169-BF44-BA174154160E}"/>
          </ac:grpSpMkLst>
        </pc:grpChg>
        <pc:picChg chg="add del mod">
          <ac:chgData name="K M Rahaman" userId="d5522254b8323d27" providerId="LiveId" clId="{FD9B0772-4A7B-4F41-BA42-93F45BDEAA6D}" dt="2021-02-25T06:59:46.466" v="2879"/>
          <ac:picMkLst>
            <pc:docMk/>
            <pc:sldMk cId="1945584022" sldId="266"/>
            <ac:picMk id="2" creationId="{05D5EFDD-27D1-4D11-B5D6-B541A13B816C}"/>
          </ac:picMkLst>
        </pc:picChg>
        <pc:picChg chg="mod">
          <ac:chgData name="K M Rahaman" userId="d5522254b8323d27" providerId="LiveId" clId="{FD9B0772-4A7B-4F41-BA42-93F45BDEAA6D}" dt="2021-02-25T07:06:22.774" v="2946" actId="14826"/>
          <ac:picMkLst>
            <pc:docMk/>
            <pc:sldMk cId="1945584022" sldId="266"/>
            <ac:picMk id="15" creationId="{6E97CBFE-3969-4E6C-93E8-1893C12AFF33}"/>
          </ac:picMkLst>
        </pc:picChg>
        <pc:picChg chg="mod">
          <ac:chgData name="K M Rahaman" userId="d5522254b8323d27" providerId="LiveId" clId="{FD9B0772-4A7B-4F41-BA42-93F45BDEAA6D}" dt="2021-02-25T07:06:33.631" v="2947" actId="1076"/>
          <ac:picMkLst>
            <pc:docMk/>
            <pc:sldMk cId="1945584022" sldId="266"/>
            <ac:picMk id="16" creationId="{318E01A0-2768-41F4-AF96-5837959DE4DE}"/>
          </ac:picMkLst>
        </pc:picChg>
      </pc:sldChg>
      <pc:sldChg chg="addSp delSp modSp mod">
        <pc:chgData name="K M Rahaman" userId="d5522254b8323d27" providerId="LiveId" clId="{FD9B0772-4A7B-4F41-BA42-93F45BDEAA6D}" dt="2021-02-26T18:04:55.032" v="8063" actId="20577"/>
        <pc:sldMkLst>
          <pc:docMk/>
          <pc:sldMk cId="2140949405" sldId="266"/>
        </pc:sldMkLst>
        <pc:spChg chg="del">
          <ac:chgData name="K M Rahaman" userId="d5522254b8323d27" providerId="LiveId" clId="{FD9B0772-4A7B-4F41-BA42-93F45BDEAA6D}" dt="2021-02-25T08:57:26.032" v="5295" actId="478"/>
          <ac:spMkLst>
            <pc:docMk/>
            <pc:sldMk cId="2140949405" sldId="266"/>
            <ac:spMk id="2" creationId="{6A34EEB9-16C5-43EA-9879-58E69D9198D7}"/>
          </ac:spMkLst>
        </pc:spChg>
        <pc:spChg chg="add del mod">
          <ac:chgData name="K M Rahaman" userId="d5522254b8323d27" providerId="LiveId" clId="{FD9B0772-4A7B-4F41-BA42-93F45BDEAA6D}" dt="2021-02-25T09:02:57.949" v="5331" actId="22"/>
          <ac:spMkLst>
            <pc:docMk/>
            <pc:sldMk cId="2140949405" sldId="266"/>
            <ac:spMk id="28" creationId="{21D93F5C-344D-43F6-9051-97A42FA64663}"/>
          </ac:spMkLst>
        </pc:spChg>
        <pc:spChg chg="add mod">
          <ac:chgData name="K M Rahaman" userId="d5522254b8323d27" providerId="LiveId" clId="{FD9B0772-4A7B-4F41-BA42-93F45BDEAA6D}" dt="2021-02-26T17:47:34.989" v="7877" actId="113"/>
          <ac:spMkLst>
            <pc:docMk/>
            <pc:sldMk cId="2140949405" sldId="266"/>
            <ac:spMk id="30" creationId="{18BA23AA-4020-4AEF-81BA-397C83BE6DC9}"/>
          </ac:spMkLst>
        </pc:spChg>
        <pc:spChg chg="add del">
          <ac:chgData name="K M Rahaman" userId="d5522254b8323d27" providerId="LiveId" clId="{FD9B0772-4A7B-4F41-BA42-93F45BDEAA6D}" dt="2021-02-25T09:32:44.659" v="6936" actId="22"/>
          <ac:spMkLst>
            <pc:docMk/>
            <pc:sldMk cId="2140949405" sldId="266"/>
            <ac:spMk id="32" creationId="{48B90B20-FA4A-4F50-96DC-6EB5CD5D3B61}"/>
          </ac:spMkLst>
        </pc:spChg>
        <pc:spChg chg="add mod">
          <ac:chgData name="K M Rahaman" userId="d5522254b8323d27" providerId="LiveId" clId="{FD9B0772-4A7B-4F41-BA42-93F45BDEAA6D}" dt="2021-02-26T18:04:55.032" v="8063" actId="20577"/>
          <ac:spMkLst>
            <pc:docMk/>
            <pc:sldMk cId="2140949405" sldId="266"/>
            <ac:spMk id="34" creationId="{9BFFD036-92BF-432B-A51B-8FC7507C1076}"/>
          </ac:spMkLst>
        </pc:spChg>
        <pc:spChg chg="mod">
          <ac:chgData name="K M Rahaman" userId="d5522254b8323d27" providerId="LiveId" clId="{FD9B0772-4A7B-4F41-BA42-93F45BDEAA6D}" dt="2021-02-25T09:42:16.369" v="7019" actId="14100"/>
          <ac:spMkLst>
            <pc:docMk/>
            <pc:sldMk cId="2140949405" sldId="266"/>
            <ac:spMk id="65" creationId="{A0A02496-88EA-4B41-9E5D-338FC62291EF}"/>
          </ac:spMkLst>
        </pc:spChg>
        <pc:spChg chg="mod">
          <ac:chgData name="K M Rahaman" userId="d5522254b8323d27" providerId="LiveId" clId="{FD9B0772-4A7B-4F41-BA42-93F45BDEAA6D}" dt="2021-02-25T09:00:34.232" v="5316" actId="121"/>
          <ac:spMkLst>
            <pc:docMk/>
            <pc:sldMk cId="2140949405" sldId="266"/>
            <ac:spMk id="66" creationId="{EB2D913B-6EEF-4B66-9A3E-17021769FBAE}"/>
          </ac:spMkLst>
        </pc:spChg>
        <pc:spChg chg="add del mod">
          <ac:chgData name="K M Rahaman" userId="d5522254b8323d27" providerId="LiveId" clId="{FD9B0772-4A7B-4F41-BA42-93F45BDEAA6D}" dt="2021-02-25T09:03:25.649" v="5335" actId="478"/>
          <ac:spMkLst>
            <pc:docMk/>
            <pc:sldMk cId="2140949405" sldId="266"/>
            <ac:spMk id="83" creationId="{B64B5CBD-83E2-481E-A386-A039406F502F}"/>
          </ac:spMkLst>
        </pc:spChg>
        <pc:spChg chg="mod">
          <ac:chgData name="K M Rahaman" userId="d5522254b8323d27" providerId="LiveId" clId="{FD9B0772-4A7B-4F41-BA42-93F45BDEAA6D}" dt="2021-02-25T16:51:22.187" v="7322" actId="20577"/>
          <ac:spMkLst>
            <pc:docMk/>
            <pc:sldMk cId="2140949405" sldId="266"/>
            <ac:spMk id="85" creationId="{E47E059F-2215-4579-9F28-6801D34F6BFC}"/>
          </ac:spMkLst>
        </pc:spChg>
        <pc:spChg chg="del mod">
          <ac:chgData name="K M Rahaman" userId="d5522254b8323d27" providerId="LiveId" clId="{FD9B0772-4A7B-4F41-BA42-93F45BDEAA6D}" dt="2021-02-25T09:32:59.258" v="6939" actId="478"/>
          <ac:spMkLst>
            <pc:docMk/>
            <pc:sldMk cId="2140949405" sldId="266"/>
            <ac:spMk id="87" creationId="{FA757CD7-5E50-4B6E-8A97-086551B3DC07}"/>
          </ac:spMkLst>
        </pc:spChg>
        <pc:spChg chg="del">
          <ac:chgData name="K M Rahaman" userId="d5522254b8323d27" providerId="LiveId" clId="{FD9B0772-4A7B-4F41-BA42-93F45BDEAA6D}" dt="2021-02-25T08:59:37.802" v="5299" actId="478"/>
          <ac:spMkLst>
            <pc:docMk/>
            <pc:sldMk cId="2140949405" sldId="266"/>
            <ac:spMk id="114" creationId="{04663361-91B1-4A22-ADF6-0CA5E49608BB}"/>
          </ac:spMkLst>
        </pc:spChg>
        <pc:grpChg chg="mod">
          <ac:chgData name="K M Rahaman" userId="d5522254b8323d27" providerId="LiveId" clId="{FD9B0772-4A7B-4F41-BA42-93F45BDEAA6D}" dt="2021-02-25T09:36:53.840" v="6993" actId="14100"/>
          <ac:grpSpMkLst>
            <pc:docMk/>
            <pc:sldMk cId="2140949405" sldId="266"/>
            <ac:grpSpMk id="97" creationId="{5BD2FEC7-A3D8-4698-A70B-AD4EFBFCE5EF}"/>
          </ac:grpSpMkLst>
        </pc:grpChg>
        <pc:grpChg chg="mod">
          <ac:chgData name="K M Rahaman" userId="d5522254b8323d27" providerId="LiveId" clId="{FD9B0772-4A7B-4F41-BA42-93F45BDEAA6D}" dt="2021-02-25T09:37:04.098" v="6994" actId="14100"/>
          <ac:grpSpMkLst>
            <pc:docMk/>
            <pc:sldMk cId="2140949405" sldId="266"/>
            <ac:grpSpMk id="102" creationId="{0983DB6B-67BB-4169-BF44-BA174154160E}"/>
          </ac:grpSpMkLst>
        </pc:grpChg>
        <pc:picChg chg="mod">
          <ac:chgData name="K M Rahaman" userId="d5522254b8323d27" providerId="LiveId" clId="{FD9B0772-4A7B-4F41-BA42-93F45BDEAA6D}" dt="2021-02-25T08:56:36.756" v="5288" actId="1076"/>
          <ac:picMkLst>
            <pc:docMk/>
            <pc:sldMk cId="2140949405" sldId="266"/>
            <ac:picMk id="3" creationId="{A19109B1-91F6-4752-A144-DCDCE4281897}"/>
          </ac:picMkLst>
        </pc:picChg>
        <pc:picChg chg="del">
          <ac:chgData name="K M Rahaman" userId="d5522254b8323d27" providerId="LiveId" clId="{FD9B0772-4A7B-4F41-BA42-93F45BDEAA6D}" dt="2021-02-25T08:57:21.964" v="5294" actId="478"/>
          <ac:picMkLst>
            <pc:docMk/>
            <pc:sldMk cId="2140949405" sldId="266"/>
            <ac:picMk id="73" creationId="{2EC04A32-0018-4279-BE24-01D6AF5C8771}"/>
          </ac:picMkLst>
        </pc:picChg>
        <pc:picChg chg="mod">
          <ac:chgData name="K M Rahaman" userId="d5522254b8323d27" providerId="LiveId" clId="{FD9B0772-4A7B-4F41-BA42-93F45BDEAA6D}" dt="2021-02-25T08:59:21.453" v="5297" actId="14826"/>
          <ac:picMkLst>
            <pc:docMk/>
            <pc:sldMk cId="2140949405" sldId="266"/>
            <ac:picMk id="103" creationId="{DD0B06E2-84C7-4C57-AE2B-E8326ECA8DDD}"/>
          </ac:picMkLst>
        </pc:picChg>
        <pc:picChg chg="mod">
          <ac:chgData name="K M Rahaman" userId="d5522254b8323d27" providerId="LiveId" clId="{FD9B0772-4A7B-4F41-BA42-93F45BDEAA6D}" dt="2021-02-25T08:59:28.632" v="5298" actId="1076"/>
          <ac:picMkLst>
            <pc:docMk/>
            <pc:sldMk cId="2140949405" sldId="266"/>
            <ac:picMk id="104" creationId="{F75EE778-1C95-4817-85C5-9EB7354EE0DC}"/>
          </ac:picMkLst>
        </pc:picChg>
        <pc:cxnChg chg="del mod">
          <ac:chgData name="K M Rahaman" userId="d5522254b8323d27" providerId="LiveId" clId="{FD9B0772-4A7B-4F41-BA42-93F45BDEAA6D}" dt="2021-02-25T08:57:18.873" v="5293" actId="478"/>
          <ac:cxnSpMkLst>
            <pc:docMk/>
            <pc:sldMk cId="2140949405" sldId="266"/>
            <ac:cxnSpMk id="72" creationId="{3A698BF5-4E8E-4615-B3CF-8531B3BCC57B}"/>
          </ac:cxnSpMkLst>
        </pc:cxnChg>
        <pc:cxnChg chg="mod">
          <ac:chgData name="K M Rahaman" userId="d5522254b8323d27" providerId="LiveId" clId="{FD9B0772-4A7B-4F41-BA42-93F45BDEAA6D}" dt="2021-02-25T08:59:50.719" v="5302" actId="14100"/>
          <ac:cxnSpMkLst>
            <pc:docMk/>
            <pc:sldMk cId="2140949405" sldId="266"/>
            <ac:cxnSpMk id="107" creationId="{34807044-19C0-4AF9-B860-0FE69DF94242}"/>
          </ac:cxnSpMkLst>
        </pc:cxnChg>
        <pc:cxnChg chg="del">
          <ac:chgData name="K M Rahaman" userId="d5522254b8323d27" providerId="LiveId" clId="{FD9B0772-4A7B-4F41-BA42-93F45BDEAA6D}" dt="2021-02-25T08:59:40.731" v="5300" actId="478"/>
          <ac:cxnSpMkLst>
            <pc:docMk/>
            <pc:sldMk cId="2140949405" sldId="266"/>
            <ac:cxnSpMk id="111" creationId="{F7092805-2468-48E4-93E0-A13FE2302B76}"/>
          </ac:cxnSpMkLst>
        </pc:cxnChg>
      </pc:sldChg>
      <pc:sldChg chg="modSp mod">
        <pc:chgData name="K M Rahaman" userId="d5522254b8323d27" providerId="LiveId" clId="{FD9B0772-4A7B-4F41-BA42-93F45BDEAA6D}" dt="2021-02-26T18:08:20.757" v="8089" actId="14100"/>
        <pc:sldMkLst>
          <pc:docMk/>
          <pc:sldMk cId="2057030332" sldId="267"/>
        </pc:sldMkLst>
        <pc:spChg chg="mod">
          <ac:chgData name="K M Rahaman" userId="d5522254b8323d27" providerId="LiveId" clId="{FD9B0772-4A7B-4F41-BA42-93F45BDEAA6D}" dt="2021-02-26T18:06:23.735" v="8074" actId="14100"/>
          <ac:spMkLst>
            <pc:docMk/>
            <pc:sldMk cId="2057030332" sldId="267"/>
            <ac:spMk id="5" creationId="{84D780B4-F0CA-4EEB-BBDB-DB2A65B8D07D}"/>
          </ac:spMkLst>
        </pc:spChg>
        <pc:spChg chg="mod">
          <ac:chgData name="K M Rahaman" userId="d5522254b8323d27" providerId="LiveId" clId="{FD9B0772-4A7B-4F41-BA42-93F45BDEAA6D}" dt="2021-02-26T18:08:20.757" v="8089" actId="14100"/>
          <ac:spMkLst>
            <pc:docMk/>
            <pc:sldMk cId="2057030332" sldId="267"/>
            <ac:spMk id="16" creationId="{8E428CFC-D37A-4E13-8121-4A2B4CA64697}"/>
          </ac:spMkLst>
        </pc:spChg>
        <pc:spChg chg="mod">
          <ac:chgData name="K M Rahaman" userId="d5522254b8323d27" providerId="LiveId" clId="{FD9B0772-4A7B-4F41-BA42-93F45BDEAA6D}" dt="2021-02-26T18:06:02.051" v="8070" actId="1076"/>
          <ac:spMkLst>
            <pc:docMk/>
            <pc:sldMk cId="2057030332" sldId="267"/>
            <ac:spMk id="75" creationId="{E724945E-CA55-49FB-9518-F4A3F4ED89CF}"/>
          </ac:spMkLst>
        </pc:spChg>
        <pc:spChg chg="mod">
          <ac:chgData name="K M Rahaman" userId="d5522254b8323d27" providerId="LiveId" clId="{FD9B0772-4A7B-4F41-BA42-93F45BDEAA6D}" dt="2021-02-26T18:07:28.320" v="8083" actId="14100"/>
          <ac:spMkLst>
            <pc:docMk/>
            <pc:sldMk cId="2057030332" sldId="267"/>
            <ac:spMk id="85" creationId="{68E15090-2B82-4A49-B4B2-8F6B1510051D}"/>
          </ac:spMkLst>
        </pc:spChg>
        <pc:spChg chg="mod">
          <ac:chgData name="K M Rahaman" userId="d5522254b8323d27" providerId="LiveId" clId="{FD9B0772-4A7B-4F41-BA42-93F45BDEAA6D}" dt="2021-02-26T18:07:33.124" v="8084" actId="14100"/>
          <ac:spMkLst>
            <pc:docMk/>
            <pc:sldMk cId="2057030332" sldId="267"/>
            <ac:spMk id="86" creationId="{86983144-AFC2-4A1F-A753-5F3243CEA54C}"/>
          </ac:spMkLst>
        </pc:spChg>
        <pc:spChg chg="mod">
          <ac:chgData name="K M Rahaman" userId="d5522254b8323d27" providerId="LiveId" clId="{FD9B0772-4A7B-4F41-BA42-93F45BDEAA6D}" dt="2021-02-26T18:07:37.046" v="8085" actId="14100"/>
          <ac:spMkLst>
            <pc:docMk/>
            <pc:sldMk cId="2057030332" sldId="267"/>
            <ac:spMk id="87" creationId="{6F0DAECB-8FFA-4045-9EEE-2068CCBD2FC0}"/>
          </ac:spMkLst>
        </pc:spChg>
        <pc:spChg chg="mod">
          <ac:chgData name="K M Rahaman" userId="d5522254b8323d27" providerId="LiveId" clId="{FD9B0772-4A7B-4F41-BA42-93F45BDEAA6D}" dt="2021-02-26T18:06:05.725" v="8071" actId="1076"/>
          <ac:spMkLst>
            <pc:docMk/>
            <pc:sldMk cId="2057030332" sldId="267"/>
            <ac:spMk id="88" creationId="{CFD1A522-7A1E-4289-B9CB-44E2FE0CCB56}"/>
          </ac:spMkLst>
        </pc:spChg>
        <pc:spChg chg="mod">
          <ac:chgData name="K M Rahaman" userId="d5522254b8323d27" providerId="LiveId" clId="{FD9B0772-4A7B-4F41-BA42-93F45BDEAA6D}" dt="2021-02-26T18:06:58.493" v="8079" actId="1076"/>
          <ac:spMkLst>
            <pc:docMk/>
            <pc:sldMk cId="2057030332" sldId="267"/>
            <ac:spMk id="89" creationId="{C27FAE82-490E-4BF9-8CF1-CC7B50C8CCCF}"/>
          </ac:spMkLst>
        </pc:spChg>
        <pc:spChg chg="mod">
          <ac:chgData name="K M Rahaman" userId="d5522254b8323d27" providerId="LiveId" clId="{FD9B0772-4A7B-4F41-BA42-93F45BDEAA6D}" dt="2021-02-26T18:06:11.267" v="8072" actId="1076"/>
          <ac:spMkLst>
            <pc:docMk/>
            <pc:sldMk cId="2057030332" sldId="267"/>
            <ac:spMk id="92" creationId="{862E538D-8268-4BB2-8AF8-B9448A947791}"/>
          </ac:spMkLst>
        </pc:spChg>
        <pc:spChg chg="mod">
          <ac:chgData name="K M Rahaman" userId="d5522254b8323d27" providerId="LiveId" clId="{FD9B0772-4A7B-4F41-BA42-93F45BDEAA6D}" dt="2021-02-26T18:07:04.207" v="8080" actId="1076"/>
          <ac:spMkLst>
            <pc:docMk/>
            <pc:sldMk cId="2057030332" sldId="267"/>
            <ac:spMk id="93" creationId="{3A64BDFB-90B8-457A-86F6-D1D8F7E89E0A}"/>
          </ac:spMkLst>
        </pc:spChg>
        <pc:spChg chg="mod">
          <ac:chgData name="K M Rahaman" userId="d5522254b8323d27" providerId="LiveId" clId="{FD9B0772-4A7B-4F41-BA42-93F45BDEAA6D}" dt="2021-02-26T18:07:16.410" v="8082" actId="1076"/>
          <ac:spMkLst>
            <pc:docMk/>
            <pc:sldMk cId="2057030332" sldId="267"/>
            <ac:spMk id="94" creationId="{A9DB3552-444E-47C6-BD59-CC0352100D1A}"/>
          </ac:spMkLst>
        </pc:spChg>
        <pc:spChg chg="mod">
          <ac:chgData name="K M Rahaman" userId="d5522254b8323d27" providerId="LiveId" clId="{FD9B0772-4A7B-4F41-BA42-93F45BDEAA6D}" dt="2021-02-26T18:06:17.226" v="8073" actId="1076"/>
          <ac:spMkLst>
            <pc:docMk/>
            <pc:sldMk cId="2057030332" sldId="267"/>
            <ac:spMk id="96" creationId="{5FBFCC97-0734-4E97-88DF-962882703924}"/>
          </ac:spMkLst>
        </pc:spChg>
        <pc:spChg chg="mod">
          <ac:chgData name="K M Rahaman" userId="d5522254b8323d27" providerId="LiveId" clId="{FD9B0772-4A7B-4F41-BA42-93F45BDEAA6D}" dt="2021-02-26T18:07:09.210" v="8081" actId="1076"/>
          <ac:spMkLst>
            <pc:docMk/>
            <pc:sldMk cId="2057030332" sldId="267"/>
            <ac:spMk id="97" creationId="{6AADA34B-6BB8-4E30-8014-8D4B1FEA46C8}"/>
          </ac:spMkLst>
        </pc:spChg>
      </pc:sldChg>
      <pc:sldChg chg="addSp modSp mod">
        <pc:chgData name="K M Rahaman" userId="d5522254b8323d27" providerId="LiveId" clId="{FD9B0772-4A7B-4F41-BA42-93F45BDEAA6D}" dt="2021-02-26T18:05:26.082" v="8069" actId="14100"/>
        <pc:sldMkLst>
          <pc:docMk/>
          <pc:sldMk cId="2194553711" sldId="268"/>
        </pc:sldMkLst>
        <pc:spChg chg="add mod">
          <ac:chgData name="K M Rahaman" userId="d5522254b8323d27" providerId="LiveId" clId="{FD9B0772-4A7B-4F41-BA42-93F45BDEAA6D}" dt="2021-02-26T18:05:26.082" v="8069" actId="14100"/>
          <ac:spMkLst>
            <pc:docMk/>
            <pc:sldMk cId="2194553711" sldId="268"/>
            <ac:spMk id="58" creationId="{01877F72-37F8-4C41-BD11-148222346D49}"/>
          </ac:spMkLst>
        </pc:spChg>
        <pc:spChg chg="mod">
          <ac:chgData name="K M Rahaman" userId="d5522254b8323d27" providerId="LiveId" clId="{FD9B0772-4A7B-4F41-BA42-93F45BDEAA6D}" dt="2021-02-26T16:46:32.633" v="7542" actId="14100"/>
          <ac:spMkLst>
            <pc:docMk/>
            <pc:sldMk cId="2194553711" sldId="268"/>
            <ac:spMk id="61" creationId="{234FA787-500B-448E-96A7-983B3B464FFA}"/>
          </ac:spMkLst>
        </pc:spChg>
        <pc:spChg chg="mod">
          <ac:chgData name="K M Rahaman" userId="d5522254b8323d27" providerId="LiveId" clId="{FD9B0772-4A7B-4F41-BA42-93F45BDEAA6D}" dt="2021-02-25T16:54:51.829" v="7332" actId="20577"/>
          <ac:spMkLst>
            <pc:docMk/>
            <pc:sldMk cId="2194553711" sldId="268"/>
            <ac:spMk id="144" creationId="{632ABB96-43D8-4D02-BB87-F3ADC9FE80C1}"/>
          </ac:spMkLst>
        </pc:spChg>
        <pc:spChg chg="mod">
          <ac:chgData name="K M Rahaman" userId="d5522254b8323d27" providerId="LiveId" clId="{FD9B0772-4A7B-4F41-BA42-93F45BDEAA6D}" dt="2021-02-25T16:51:55.057" v="7324" actId="1076"/>
          <ac:spMkLst>
            <pc:docMk/>
            <pc:sldMk cId="2194553711" sldId="268"/>
            <ac:spMk id="146" creationId="{5702ABFA-C1BA-4299-8AE3-FB5C1B9FE415}"/>
          </ac:spMkLst>
        </pc:spChg>
        <pc:spChg chg="mod">
          <ac:chgData name="K M Rahaman" userId="d5522254b8323d27" providerId="LiveId" clId="{FD9B0772-4A7B-4F41-BA42-93F45BDEAA6D}" dt="2021-02-25T17:33:31.950" v="7495" actId="14100"/>
          <ac:spMkLst>
            <pc:docMk/>
            <pc:sldMk cId="2194553711" sldId="268"/>
            <ac:spMk id="151" creationId="{CF0FDAA8-275F-4F0E-9817-A4B67308F31E}"/>
          </ac:spMkLst>
        </pc:spChg>
        <pc:grpChg chg="mod">
          <ac:chgData name="K M Rahaman" userId="d5522254b8323d27" providerId="LiveId" clId="{FD9B0772-4A7B-4F41-BA42-93F45BDEAA6D}" dt="2021-02-26T17:58:05.011" v="7931" actId="1076"/>
          <ac:grpSpMkLst>
            <pc:docMk/>
            <pc:sldMk cId="2194553711" sldId="268"/>
            <ac:grpSpMk id="110" creationId="{5C6987F6-1F86-4D32-B8A0-49D0047FF922}"/>
          </ac:grpSpMkLst>
        </pc:grpChg>
        <pc:picChg chg="mod">
          <ac:chgData name="K M Rahaman" userId="d5522254b8323d27" providerId="LiveId" clId="{FD9B0772-4A7B-4F41-BA42-93F45BDEAA6D}" dt="2021-02-26T17:57:30.116" v="7928" actId="14826"/>
          <ac:picMkLst>
            <pc:docMk/>
            <pc:sldMk cId="2194553711" sldId="268"/>
            <ac:picMk id="111" creationId="{C7C8E183-23CB-400D-9D13-8F8B132CD79B}"/>
          </ac:picMkLst>
        </pc:picChg>
        <pc:picChg chg="mod">
          <ac:chgData name="K M Rahaman" userId="d5522254b8323d27" providerId="LiveId" clId="{FD9B0772-4A7B-4F41-BA42-93F45BDEAA6D}" dt="2021-02-26T17:57:52.843" v="7930" actId="14100"/>
          <ac:picMkLst>
            <pc:docMk/>
            <pc:sldMk cId="2194553711" sldId="268"/>
            <ac:picMk id="113" creationId="{9C0BC01A-ADD7-485E-8C06-7084D229830E}"/>
          </ac:picMkLst>
        </pc:picChg>
      </pc:sldChg>
      <pc:sldChg chg="addSp delSp modSp mod">
        <pc:chgData name="K M Rahaman" userId="d5522254b8323d27" providerId="LiveId" clId="{FD9B0772-4A7B-4F41-BA42-93F45BDEAA6D}" dt="2021-02-26T17:43:42.834" v="7768" actId="14100"/>
        <pc:sldMkLst>
          <pc:docMk/>
          <pc:sldMk cId="2141846834" sldId="269"/>
        </pc:sldMkLst>
        <pc:spChg chg="mod">
          <ac:chgData name="K M Rahaman" userId="d5522254b8323d27" providerId="LiveId" clId="{FD9B0772-4A7B-4F41-BA42-93F45BDEAA6D}" dt="2021-02-26T16:53:23.477" v="7553" actId="14100"/>
          <ac:spMkLst>
            <pc:docMk/>
            <pc:sldMk cId="2141846834" sldId="269"/>
            <ac:spMk id="5" creationId="{E42EB6E2-C9EB-45B8-BED6-A375365933E9}"/>
          </ac:spMkLst>
        </pc:spChg>
        <pc:spChg chg="mod">
          <ac:chgData name="K M Rahaman" userId="d5522254b8323d27" providerId="LiveId" clId="{FD9B0772-4A7B-4F41-BA42-93F45BDEAA6D}" dt="2021-02-26T16:54:09.612" v="7562" actId="255"/>
          <ac:spMkLst>
            <pc:docMk/>
            <pc:sldMk cId="2141846834" sldId="269"/>
            <ac:spMk id="7" creationId="{C9AAF079-DF5B-4FC9-804F-C0C32BD9014C}"/>
          </ac:spMkLst>
        </pc:spChg>
        <pc:spChg chg="add del mod">
          <ac:chgData name="K M Rahaman" userId="d5522254b8323d27" providerId="LiveId" clId="{FD9B0772-4A7B-4F41-BA42-93F45BDEAA6D}" dt="2021-02-26T17:37:49.086" v="7587"/>
          <ac:spMkLst>
            <pc:docMk/>
            <pc:sldMk cId="2141846834" sldId="269"/>
            <ac:spMk id="72" creationId="{22ADFCCA-B3E3-4FEB-9947-C59F32C0CBEA}"/>
          </ac:spMkLst>
        </pc:spChg>
        <pc:spChg chg="add mod">
          <ac:chgData name="K M Rahaman" userId="d5522254b8323d27" providerId="LiveId" clId="{FD9B0772-4A7B-4F41-BA42-93F45BDEAA6D}" dt="2021-02-26T17:43:42.834" v="7768" actId="14100"/>
          <ac:spMkLst>
            <pc:docMk/>
            <pc:sldMk cId="2141846834" sldId="269"/>
            <ac:spMk id="74" creationId="{162E46A4-AA51-455B-81BE-DE54ADBF242B}"/>
          </ac:spMkLst>
        </pc:spChg>
        <pc:grpChg chg="del">
          <ac:chgData name="K M Rahaman" userId="d5522254b8323d27" providerId="LiveId" clId="{FD9B0772-4A7B-4F41-BA42-93F45BDEAA6D}" dt="2021-02-26T16:53:36.335" v="7554" actId="478"/>
          <ac:grpSpMkLst>
            <pc:docMk/>
            <pc:sldMk cId="2141846834" sldId="269"/>
            <ac:grpSpMk id="8" creationId="{102E6A74-1B59-4D0E-B47D-1DF00C2C3E8A}"/>
          </ac:grpSpMkLst>
        </pc:grpChg>
        <pc:grpChg chg="del">
          <ac:chgData name="K M Rahaman" userId="d5522254b8323d27" providerId="LiveId" clId="{FD9B0772-4A7B-4F41-BA42-93F45BDEAA6D}" dt="2021-02-26T16:52:58.299" v="7549" actId="478"/>
          <ac:grpSpMkLst>
            <pc:docMk/>
            <pc:sldMk cId="2141846834" sldId="269"/>
            <ac:grpSpMk id="18" creationId="{55493078-AB9E-47CD-A70C-71AF5975AB8A}"/>
          </ac:grpSpMkLst>
        </pc:grpChg>
        <pc:grpChg chg="del">
          <ac:chgData name="K M Rahaman" userId="d5522254b8323d27" providerId="LiveId" clId="{FD9B0772-4A7B-4F41-BA42-93F45BDEAA6D}" dt="2021-02-26T16:53:01.058" v="7550" actId="478"/>
          <ac:grpSpMkLst>
            <pc:docMk/>
            <pc:sldMk cId="2141846834" sldId="269"/>
            <ac:grpSpMk id="33" creationId="{C1BB0D2D-8F23-48F0-8A17-10F5D641DDBC}"/>
          </ac:grpSpMkLst>
        </pc:grpChg>
        <pc:picChg chg="del">
          <ac:chgData name="K M Rahaman" userId="d5522254b8323d27" providerId="LiveId" clId="{FD9B0772-4A7B-4F41-BA42-93F45BDEAA6D}" dt="2021-02-26T16:53:15.698" v="7552" actId="478"/>
          <ac:picMkLst>
            <pc:docMk/>
            <pc:sldMk cId="2141846834" sldId="269"/>
            <ac:picMk id="73" creationId="{104B38CE-3B31-42F4-9B29-145C3B506806}"/>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47C018-E682-4699-8293-A75D8CA561AC}" type="datetimeFigureOut">
              <a:rPr lang="en-IN" smtClean="0"/>
              <a:t>05-08-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805F33-DCCA-4FF0-9761-342CBEEC40DF}" type="slidenum">
              <a:rPr lang="en-IN" smtClean="0"/>
              <a:t>‹#›</a:t>
            </a:fld>
            <a:endParaRPr lang="en-IN"/>
          </a:p>
        </p:txBody>
      </p:sp>
    </p:spTree>
    <p:extLst>
      <p:ext uri="{BB962C8B-B14F-4D97-AF65-F5344CB8AC3E}">
        <p14:creationId xmlns:p14="http://schemas.microsoft.com/office/powerpoint/2010/main" val="27763876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ostshem?utm_source=unsplash&amp;utm_medium=referral&amp;utm_content=creditCopyText"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unsplash.com/?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unsplash.com/@frrn?utm_source=unsplash&amp;utm_medium=referral&amp;utm_content=creditCopyText"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unsplash.com/s/photos/bank?utm_source=unsplash&amp;utm_medium=referral&amp;utm_content=creditCopyText"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unsplash.com/@etiennemartin?utm_source=unsplash&amp;utm_medium=referral&amp;utm_content=creditCopyText"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unsplash.com/s/photos/bank?utm_source=unsplash&amp;utm_medium=referral&amp;utm_content=creditCopyTex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coffee'&gt;Coffee photo created by </a:t>
            </a:r>
            <a:r>
              <a:rPr lang="en-US" dirty="0" err="1"/>
              <a:t>jcomp</a:t>
            </a:r>
            <a:r>
              <a:rPr lang="en-US" dirty="0"/>
              <a:t> - www.freepik.com&lt;/a&g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89F812-2989-4AC2-9550-F5B672FA7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5112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coffee'&gt;Coffee photo created by </a:t>
            </a:r>
            <a:r>
              <a:rPr lang="en-US" dirty="0" err="1"/>
              <a:t>jcomp</a:t>
            </a:r>
            <a:r>
              <a:rPr lang="en-US" dirty="0"/>
              <a:t> - www.freepik.com&lt;/a&gt;</a:t>
            </a:r>
          </a:p>
        </p:txBody>
      </p:sp>
      <p:sp>
        <p:nvSpPr>
          <p:cNvPr id="4" name="Slide Number Placeholder 3"/>
          <p:cNvSpPr>
            <a:spLocks noGrp="1"/>
          </p:cNvSpPr>
          <p:nvPr>
            <p:ph type="sldNum" sz="quarter" idx="5"/>
          </p:nvPr>
        </p:nvSpPr>
        <p:spPr/>
        <p:txBody>
          <a:bodyPr/>
          <a:lstStyle/>
          <a:p>
            <a:fld id="{C789F812-2989-4AC2-9550-F5B672FA743E}" type="slidenum">
              <a:rPr lang="en-US" smtClean="0"/>
              <a:t>10</a:t>
            </a:fld>
            <a:endParaRPr lang="en-US"/>
          </a:p>
        </p:txBody>
      </p:sp>
    </p:spTree>
    <p:extLst>
      <p:ext uri="{BB962C8B-B14F-4D97-AF65-F5344CB8AC3E}">
        <p14:creationId xmlns:p14="http://schemas.microsoft.com/office/powerpoint/2010/main" val="3831005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free-photos-vectors/business"&gt;Business vector created by </a:t>
            </a:r>
            <a:r>
              <a:rPr lang="en-US" dirty="0" err="1"/>
              <a:t>freepik</a:t>
            </a:r>
            <a:r>
              <a:rPr lang="en-US" dirty="0"/>
              <a:t> - www.freepik.com&lt;/a&g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F6E5E3-5634-4CA9-A145-258F414D5F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900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Anastasiia</a:t>
            </a:r>
            <a:r>
              <a:rPr lang="en-US" dirty="0">
                <a:hlinkClick r:id="rId3"/>
              </a:rPr>
              <a:t> </a:t>
            </a:r>
            <a:r>
              <a:rPr lang="en-US" dirty="0" err="1">
                <a:hlinkClick r:id="rId3"/>
              </a:rPr>
              <a:t>Ostapovych</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89F812-2989-4AC2-9550-F5B672FA7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9866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coffee'&gt;Coffee photo created by </a:t>
            </a:r>
            <a:r>
              <a:rPr lang="en-US" dirty="0" err="1"/>
              <a:t>jcomp</a:t>
            </a:r>
            <a:r>
              <a:rPr lang="en-US" dirty="0"/>
              <a:t> - www.freepik.com&lt;/a&g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89F812-2989-4AC2-9550-F5B672FA7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8165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coffee'&gt;Coffee photo created by </a:t>
            </a:r>
            <a:r>
              <a:rPr lang="en-US" dirty="0" err="1"/>
              <a:t>jcomp</a:t>
            </a:r>
            <a:r>
              <a:rPr lang="en-US" dirty="0"/>
              <a:t> - www.freepik.com&lt;/a&g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89F812-2989-4AC2-9550-F5B672FA7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8165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business-card'&gt;Business card photo created by rawpixel.com - www.freepik.com&lt;/a&gt;</a:t>
            </a:r>
          </a:p>
        </p:txBody>
      </p:sp>
      <p:sp>
        <p:nvSpPr>
          <p:cNvPr id="4" name="Slide Number Placeholder 3"/>
          <p:cNvSpPr>
            <a:spLocks noGrp="1"/>
          </p:cNvSpPr>
          <p:nvPr>
            <p:ph type="sldNum" sz="quarter" idx="5"/>
          </p:nvPr>
        </p:nvSpPr>
        <p:spPr/>
        <p:txBody>
          <a:bodyPr/>
          <a:lstStyle/>
          <a:p>
            <a:fld id="{C789F812-2989-4AC2-9550-F5B672FA743E}" type="slidenum">
              <a:rPr lang="en-US" smtClean="0"/>
              <a:t>6</a:t>
            </a:fld>
            <a:endParaRPr lang="en-US"/>
          </a:p>
        </p:txBody>
      </p:sp>
    </p:spTree>
    <p:extLst>
      <p:ext uri="{BB962C8B-B14F-4D97-AF65-F5344CB8AC3E}">
        <p14:creationId xmlns:p14="http://schemas.microsoft.com/office/powerpoint/2010/main" val="4636336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photos/coffee'&gt;Coffee photo created by </a:t>
            </a:r>
            <a:r>
              <a:rPr lang="en-US" dirty="0" err="1"/>
              <a:t>jcomp</a:t>
            </a:r>
            <a:r>
              <a:rPr lang="en-US" dirty="0"/>
              <a:t> - www.freepik.com&lt;/a&g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89F812-2989-4AC2-9550-F5B672FA7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628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Ferran</a:t>
            </a:r>
            <a:r>
              <a:rPr lang="en-US" dirty="0">
                <a:hlinkClick r:id="rId3"/>
              </a:rPr>
              <a:t> </a:t>
            </a:r>
            <a:r>
              <a:rPr lang="en-US" dirty="0" err="1">
                <a:hlinkClick r:id="rId3"/>
              </a:rPr>
              <a:t>Fusalba</a:t>
            </a:r>
            <a:r>
              <a:rPr lang="en-US" dirty="0">
                <a:hlinkClick r:id="rId3"/>
              </a:rPr>
              <a:t> </a:t>
            </a:r>
            <a:r>
              <a:rPr lang="en-US" dirty="0" err="1">
                <a:hlinkClick r:id="rId3"/>
              </a:rPr>
              <a:t>Roselló</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789F812-2989-4AC2-9550-F5B672FA743E}" type="slidenum">
              <a:rPr lang="en-US" smtClean="0"/>
              <a:t>8</a:t>
            </a:fld>
            <a:endParaRPr lang="en-US"/>
          </a:p>
        </p:txBody>
      </p:sp>
    </p:spTree>
    <p:extLst>
      <p:ext uri="{BB962C8B-B14F-4D97-AF65-F5344CB8AC3E}">
        <p14:creationId xmlns:p14="http://schemas.microsoft.com/office/powerpoint/2010/main" val="21158218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a:hlinkClick r:id="rId3"/>
              </a:rPr>
              <a:t>Etienne Martin</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C789F812-2989-4AC2-9550-F5B672FA743E}" type="slidenum">
              <a:rPr lang="en-US" smtClean="0"/>
              <a:t>9</a:t>
            </a:fld>
            <a:endParaRPr lang="en-US"/>
          </a:p>
        </p:txBody>
      </p:sp>
    </p:spTree>
    <p:extLst>
      <p:ext uri="{BB962C8B-B14F-4D97-AF65-F5344CB8AC3E}">
        <p14:creationId xmlns:p14="http://schemas.microsoft.com/office/powerpoint/2010/main" val="14168260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BE2CB-927E-4ECA-A119-454FF0E510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6707F5D-E9A0-4285-87E8-812FCADD7B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9237A60-CFF9-48B6-BF9B-62E74659A666}"/>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A7162D13-DE68-4BBC-8E1A-ECA63044F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6C8BED-487E-4C3B-8BED-9E2E7E9EC17D}"/>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989092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C7D00-370F-4C54-BEAC-D77B3AECF73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DB476DB-A6E1-4589-A1E6-035048CA42F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F4001A-5F3B-4FE4-A795-3B09BBE87F8D}"/>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B65069EB-DB39-4C97-ADCA-138C8EBBEB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197B06-CE87-453E-B691-BB6461B5E736}"/>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1389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A9998C-3BDA-43D4-991D-6CFBD91CF1A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2BACDC-4851-4B7A-BF29-BB5E68CCF9E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CB8E39-8428-44EE-A046-3D48C86490C7}"/>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F50D6251-7B74-4A7B-AFD0-1C5F40120A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697550-297B-4E00-B3AF-38816412A588}"/>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26919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A1799-EDFE-4A35-AA81-A6C1D20920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D48907-BD67-46FE-8E2D-237FA0ABB86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2815DC5-088D-4477-944C-8528194B9205}"/>
              </a:ext>
            </a:extLst>
          </p:cNvPr>
          <p:cNvSpPr>
            <a:spLocks noGrp="1"/>
          </p:cNvSpPr>
          <p:nvPr>
            <p:ph type="dt" sz="half" idx="10"/>
          </p:nvPr>
        </p:nvSpPr>
        <p:spPr/>
        <p:txBody>
          <a:bodyPr/>
          <a:lstStyle/>
          <a:p>
            <a:fld id="{9A3B7471-4CC5-4303-9260-A120AE16F707}" type="datetime1">
              <a:rPr lang="en-US" smtClean="0"/>
              <a:t>8/5/2021</a:t>
            </a:fld>
            <a:endParaRPr lang="en-US"/>
          </a:p>
        </p:txBody>
      </p:sp>
      <p:sp>
        <p:nvSpPr>
          <p:cNvPr id="5" name="Footer Placeholder 4">
            <a:extLst>
              <a:ext uri="{FF2B5EF4-FFF2-40B4-BE49-F238E27FC236}">
                <a16:creationId xmlns:a16="http://schemas.microsoft.com/office/drawing/2014/main" id="{1088D1D4-78BE-4A70-8BF2-FA66F53A85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4374D8-0BBB-45CD-8476-3603A2B732EE}"/>
              </a:ext>
            </a:extLst>
          </p:cNvPr>
          <p:cNvSpPr>
            <a:spLocks noGrp="1"/>
          </p:cNvSpPr>
          <p:nvPr>
            <p:ph type="sldNum" sz="quarter" idx="12"/>
          </p:nvPr>
        </p:nvSpPr>
        <p:spPr/>
        <p:txBody>
          <a:bodyPr/>
          <a:lstStyle/>
          <a:p>
            <a:fld id="{9AD71B9F-3993-4306-BFF8-A983D4BB9097}" type="slidenum">
              <a:rPr lang="en-US" smtClean="0"/>
              <a:t>‹#›</a:t>
            </a:fld>
            <a:endParaRPr lang="en-US"/>
          </a:p>
        </p:txBody>
      </p:sp>
    </p:spTree>
    <p:extLst>
      <p:ext uri="{BB962C8B-B14F-4D97-AF65-F5344CB8AC3E}">
        <p14:creationId xmlns:p14="http://schemas.microsoft.com/office/powerpoint/2010/main" val="206550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D3484AB-94FD-485D-A343-BDE7D581B08E}"/>
              </a:ext>
            </a:extLst>
          </p:cNvPr>
          <p:cNvGrpSpPr/>
          <p:nvPr userDrawn="1"/>
        </p:nvGrpSpPr>
        <p:grpSpPr>
          <a:xfrm>
            <a:off x="11058451" y="6273006"/>
            <a:ext cx="631983" cy="488101"/>
            <a:chOff x="11636374" y="558800"/>
            <a:chExt cx="1101726" cy="850900"/>
          </a:xfrm>
        </p:grpSpPr>
        <p:sp>
          <p:nvSpPr>
            <p:cNvPr id="7" name="Oval 6">
              <a:extLst>
                <a:ext uri="{FF2B5EF4-FFF2-40B4-BE49-F238E27FC236}">
                  <a16:creationId xmlns:a16="http://schemas.microsoft.com/office/drawing/2014/main" id="{33244FF7-4B0C-491F-9974-7E7E79C4DA57}"/>
                </a:ext>
              </a:extLst>
            </p:cNvPr>
            <p:cNvSpPr/>
            <p:nvPr userDrawn="1"/>
          </p:nvSpPr>
          <p:spPr>
            <a:xfrm>
              <a:off x="11887200" y="558800"/>
              <a:ext cx="850900" cy="850900"/>
            </a:xfrm>
            <a:prstGeom prst="ellipse">
              <a:avLst/>
            </a:prstGeom>
            <a:solidFill>
              <a:srgbClr val="205D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01D1C934-AD2F-4443-92DF-3CF92D7E6C1C}"/>
                </a:ext>
              </a:extLst>
            </p:cNvPr>
            <p:cNvSpPr/>
            <p:nvPr userDrawn="1"/>
          </p:nvSpPr>
          <p:spPr>
            <a:xfrm>
              <a:off x="11636374" y="908050"/>
              <a:ext cx="501651" cy="501648"/>
            </a:xfrm>
            <a:prstGeom prst="ellipse">
              <a:avLst/>
            </a:prstGeom>
            <a:solidFill>
              <a:srgbClr val="F15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a:extLst>
              <a:ext uri="{FF2B5EF4-FFF2-40B4-BE49-F238E27FC236}">
                <a16:creationId xmlns:a16="http://schemas.microsoft.com/office/drawing/2014/main" id="{F6586E1E-1840-4AB3-91E6-A83526564EAA}"/>
              </a:ext>
            </a:extLst>
          </p:cNvPr>
          <p:cNvSpPr>
            <a:spLocks noGrp="1"/>
          </p:cNvSpPr>
          <p:nvPr>
            <p:ph type="title"/>
          </p:nvPr>
        </p:nvSpPr>
        <p:spPr>
          <a:xfrm>
            <a:off x="571500" y="257045"/>
            <a:ext cx="11049000" cy="965679"/>
          </a:xfrm>
        </p:spPr>
        <p:txBody>
          <a:bodyPr>
            <a:normAutofit/>
          </a:bodyPr>
          <a:lstStyle>
            <a:lvl1pPr algn="ctr">
              <a:defRPr sz="3600" b="1">
                <a:latin typeface="Century Gothic" panose="020B0502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F1FA8F60-D42E-4ED6-A0F9-94CB951CC16C}"/>
              </a:ext>
            </a:extLst>
          </p:cNvPr>
          <p:cNvSpPr>
            <a:spLocks noGrp="1"/>
          </p:cNvSpPr>
          <p:nvPr>
            <p:ph idx="1"/>
          </p:nvPr>
        </p:nvSpPr>
        <p:spPr>
          <a:xfrm>
            <a:off x="571500" y="1575304"/>
            <a:ext cx="11049000" cy="4542812"/>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41B89D-C184-4E8F-9966-0F1F1AFDC950}"/>
              </a:ext>
            </a:extLst>
          </p:cNvPr>
          <p:cNvSpPr>
            <a:spLocks noGrp="1"/>
          </p:cNvSpPr>
          <p:nvPr>
            <p:ph type="dt" sz="half" idx="10"/>
          </p:nvPr>
        </p:nvSpPr>
        <p:spPr>
          <a:xfrm>
            <a:off x="571500" y="6356350"/>
            <a:ext cx="2743200" cy="365125"/>
          </a:xfrm>
        </p:spPr>
        <p:txBody>
          <a:bodyPr/>
          <a:lstStyle/>
          <a:p>
            <a:fld id="{68858C17-BDEA-4474-A895-67B2170B9E0E}" type="datetime1">
              <a:rPr lang="en-US" smtClean="0"/>
              <a:t>8/5/2021</a:t>
            </a:fld>
            <a:endParaRPr lang="en-US"/>
          </a:p>
        </p:txBody>
      </p:sp>
      <p:sp>
        <p:nvSpPr>
          <p:cNvPr id="5" name="Footer Placeholder 4">
            <a:extLst>
              <a:ext uri="{FF2B5EF4-FFF2-40B4-BE49-F238E27FC236}">
                <a16:creationId xmlns:a16="http://schemas.microsoft.com/office/drawing/2014/main" id="{280F07B5-651F-4E31-9779-4763E8C0DF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0F4D0C-4F75-4B02-9747-A53F80238F15}"/>
              </a:ext>
            </a:extLst>
          </p:cNvPr>
          <p:cNvSpPr>
            <a:spLocks noGrp="1"/>
          </p:cNvSpPr>
          <p:nvPr>
            <p:ph type="sldNum" sz="quarter" idx="12"/>
          </p:nvPr>
        </p:nvSpPr>
        <p:spPr>
          <a:xfrm>
            <a:off x="11261768" y="6356350"/>
            <a:ext cx="361950" cy="365125"/>
          </a:xfrm>
        </p:spPr>
        <p:txBody>
          <a:bodyPr/>
          <a:lstStyle>
            <a:lvl1pPr algn="ctr">
              <a:defRPr sz="1100">
                <a:solidFill>
                  <a:schemeClr val="bg1"/>
                </a:solidFill>
              </a:defRPr>
            </a:lvl1pPr>
          </a:lstStyle>
          <a:p>
            <a:fld id="{9AD71B9F-3993-4306-BFF8-A983D4BB9097}" type="slidenum">
              <a:rPr lang="en-US" smtClean="0"/>
              <a:pPr/>
              <a:t>‹#›</a:t>
            </a:fld>
            <a:endParaRPr lang="en-US"/>
          </a:p>
        </p:txBody>
      </p:sp>
      <p:grpSp>
        <p:nvGrpSpPr>
          <p:cNvPr id="10" name="Group 9">
            <a:extLst>
              <a:ext uri="{FF2B5EF4-FFF2-40B4-BE49-F238E27FC236}">
                <a16:creationId xmlns:a16="http://schemas.microsoft.com/office/drawing/2014/main" id="{30BD475E-7AD0-45EF-A648-10E6B966248D}"/>
              </a:ext>
            </a:extLst>
          </p:cNvPr>
          <p:cNvGrpSpPr/>
          <p:nvPr userDrawn="1"/>
        </p:nvGrpSpPr>
        <p:grpSpPr>
          <a:xfrm>
            <a:off x="0" y="-606158"/>
            <a:ext cx="1393632" cy="341612"/>
            <a:chOff x="0" y="-685429"/>
            <a:chExt cx="2040418" cy="500154"/>
          </a:xfrm>
        </p:grpSpPr>
        <p:sp>
          <p:nvSpPr>
            <p:cNvPr id="11" name="Oval 10">
              <a:extLst>
                <a:ext uri="{FF2B5EF4-FFF2-40B4-BE49-F238E27FC236}">
                  <a16:creationId xmlns:a16="http://schemas.microsoft.com/office/drawing/2014/main" id="{D1503AF1-B74C-4C50-BBA4-88F2B4FACA16}"/>
                </a:ext>
              </a:extLst>
            </p:cNvPr>
            <p:cNvSpPr/>
            <p:nvPr/>
          </p:nvSpPr>
          <p:spPr>
            <a:xfrm flipV="1">
              <a:off x="0" y="-685429"/>
              <a:ext cx="500153" cy="500154"/>
            </a:xfrm>
            <a:prstGeom prst="ellipse">
              <a:avLst/>
            </a:prstGeom>
            <a:solidFill>
              <a:srgbClr val="205D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BA6AB34C-5F07-4E6F-90BD-C575351674CA}"/>
                </a:ext>
              </a:extLst>
            </p:cNvPr>
            <p:cNvSpPr/>
            <p:nvPr/>
          </p:nvSpPr>
          <p:spPr>
            <a:xfrm flipV="1">
              <a:off x="770132" y="-685429"/>
              <a:ext cx="500153" cy="500154"/>
            </a:xfrm>
            <a:prstGeom prst="ellipse">
              <a:avLst/>
            </a:prstGeom>
            <a:solidFill>
              <a:srgbClr val="F15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4CAA6AFA-8837-46C7-B9ED-DD483B744029}"/>
                </a:ext>
              </a:extLst>
            </p:cNvPr>
            <p:cNvSpPr/>
            <p:nvPr/>
          </p:nvSpPr>
          <p:spPr>
            <a:xfrm flipV="1">
              <a:off x="1540265" y="-685429"/>
              <a:ext cx="500153" cy="500154"/>
            </a:xfrm>
            <a:prstGeom prst="ellipse">
              <a:avLst/>
            </a:prstGeom>
            <a:solidFill>
              <a:srgbClr val="3532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222766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37C3281C-E59B-488D-9A83-83A8155D8BEC}"/>
              </a:ext>
            </a:extLst>
          </p:cNvPr>
          <p:cNvSpPr/>
          <p:nvPr userDrawn="1"/>
        </p:nvSpPr>
        <p:spPr>
          <a:xfrm rot="16200000" flipH="1" flipV="1">
            <a:off x="6822167" y="-2732290"/>
            <a:ext cx="2631905" cy="8096487"/>
          </a:xfrm>
          <a:custGeom>
            <a:avLst/>
            <a:gdLst>
              <a:gd name="connsiteX0" fmla="*/ 0 w 2631905"/>
              <a:gd name="connsiteY0" fmla="*/ 8096487 h 8096487"/>
              <a:gd name="connsiteX1" fmla="*/ 0 w 2631905"/>
              <a:gd name="connsiteY1" fmla="*/ 5012851 h 8096487"/>
              <a:gd name="connsiteX2" fmla="*/ 1 w 2631905"/>
              <a:gd name="connsiteY2" fmla="*/ 5012851 h 8096487"/>
              <a:gd name="connsiteX3" fmla="*/ 1 w 2631905"/>
              <a:gd name="connsiteY3" fmla="*/ 706054 h 8096487"/>
              <a:gd name="connsiteX4" fmla="*/ 1 w 2631905"/>
              <a:gd name="connsiteY4" fmla="*/ 706054 h 8096487"/>
              <a:gd name="connsiteX5" fmla="*/ 1 w 2631905"/>
              <a:gd name="connsiteY5" fmla="*/ 0 h 8096487"/>
              <a:gd name="connsiteX6" fmla="*/ 1256127 w 2631905"/>
              <a:gd name="connsiteY6" fmla="*/ 0 h 8096487"/>
              <a:gd name="connsiteX7" fmla="*/ 1135945 w 2631905"/>
              <a:gd name="connsiteY7" fmla="*/ 132234 h 8096487"/>
              <a:gd name="connsiteX8" fmla="*/ 913008 w 2631905"/>
              <a:gd name="connsiteY8" fmla="*/ 325330 h 8096487"/>
              <a:gd name="connsiteX9" fmla="*/ 850904 w 2631905"/>
              <a:gd name="connsiteY9" fmla="*/ 365132 h 8096487"/>
              <a:gd name="connsiteX10" fmla="*/ 870762 w 2631905"/>
              <a:gd name="connsiteY10" fmla="*/ 374921 h 8096487"/>
              <a:gd name="connsiteX11" fmla="*/ 1416408 w 2631905"/>
              <a:gd name="connsiteY11" fmla="*/ 1245785 h 8096487"/>
              <a:gd name="connsiteX12" fmla="*/ 1421341 w 2631905"/>
              <a:gd name="connsiteY12" fmla="*/ 1353196 h 8096487"/>
              <a:gd name="connsiteX13" fmla="*/ 1503215 w 2631905"/>
              <a:gd name="connsiteY13" fmla="*/ 1376342 h 8096487"/>
              <a:gd name="connsiteX14" fmla="*/ 2631905 w 2631905"/>
              <a:gd name="connsiteY14" fmla="*/ 3063133 h 8096487"/>
              <a:gd name="connsiteX15" fmla="*/ 1503215 w 2631905"/>
              <a:gd name="connsiteY15" fmla="*/ 4749923 h 8096487"/>
              <a:gd name="connsiteX16" fmla="*/ 1421341 w 2631905"/>
              <a:gd name="connsiteY16" fmla="*/ 4773069 h 8096487"/>
              <a:gd name="connsiteX17" fmla="*/ 1416408 w 2631905"/>
              <a:gd name="connsiteY17" fmla="*/ 4880480 h 8096487"/>
              <a:gd name="connsiteX18" fmla="*/ 949810 w 2631905"/>
              <a:gd name="connsiteY18" fmla="*/ 5702419 h 8096487"/>
              <a:gd name="connsiteX19" fmla="*/ 943636 w 2631905"/>
              <a:gd name="connsiteY19" fmla="*/ 5706240 h 8096487"/>
              <a:gd name="connsiteX20" fmla="*/ 1004071 w 2631905"/>
              <a:gd name="connsiteY20" fmla="*/ 5810623 h 8096487"/>
              <a:gd name="connsiteX21" fmla="*/ 1187665 w 2631905"/>
              <a:gd name="connsiteY21" fmla="*/ 6554669 h 8096487"/>
              <a:gd name="connsiteX22" fmla="*/ 65784 w 2631905"/>
              <a:gd name="connsiteY22" fmla="*/ 8079572 h 8096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31905" h="8096487">
                <a:moveTo>
                  <a:pt x="0" y="8096487"/>
                </a:moveTo>
                <a:lnTo>
                  <a:pt x="0" y="5012851"/>
                </a:lnTo>
                <a:lnTo>
                  <a:pt x="1" y="5012851"/>
                </a:lnTo>
                <a:lnTo>
                  <a:pt x="1" y="706054"/>
                </a:lnTo>
                <a:lnTo>
                  <a:pt x="1" y="706054"/>
                </a:lnTo>
                <a:lnTo>
                  <a:pt x="1" y="0"/>
                </a:lnTo>
                <a:lnTo>
                  <a:pt x="1256127" y="0"/>
                </a:lnTo>
                <a:lnTo>
                  <a:pt x="1135945" y="132234"/>
                </a:lnTo>
                <a:cubicBezTo>
                  <a:pt x="1066413" y="201766"/>
                  <a:pt x="991908" y="266324"/>
                  <a:pt x="913008" y="325330"/>
                </a:cubicBezTo>
                <a:lnTo>
                  <a:pt x="850904" y="365132"/>
                </a:lnTo>
                <a:lnTo>
                  <a:pt x="870762" y="374921"/>
                </a:lnTo>
                <a:cubicBezTo>
                  <a:pt x="1168614" y="540154"/>
                  <a:pt x="1381159" y="864155"/>
                  <a:pt x="1416408" y="1245785"/>
                </a:cubicBezTo>
                <a:lnTo>
                  <a:pt x="1421341" y="1353196"/>
                </a:lnTo>
                <a:lnTo>
                  <a:pt x="1503215" y="1376342"/>
                </a:lnTo>
                <a:cubicBezTo>
                  <a:pt x="2157121" y="1599963"/>
                  <a:pt x="2631905" y="2270586"/>
                  <a:pt x="2631905" y="3063133"/>
                </a:cubicBezTo>
                <a:cubicBezTo>
                  <a:pt x="2631905" y="3855680"/>
                  <a:pt x="2157121" y="4526302"/>
                  <a:pt x="1503215" y="4749923"/>
                </a:cubicBezTo>
                <a:lnTo>
                  <a:pt x="1421341" y="4773069"/>
                </a:lnTo>
                <a:lnTo>
                  <a:pt x="1416408" y="4880480"/>
                </a:lnTo>
                <a:cubicBezTo>
                  <a:pt x="1384363" y="5227415"/>
                  <a:pt x="1205793" y="5526724"/>
                  <a:pt x="949810" y="5702419"/>
                </a:cubicBezTo>
                <a:lnTo>
                  <a:pt x="943636" y="5706240"/>
                </a:lnTo>
                <a:lnTo>
                  <a:pt x="1004071" y="5810623"/>
                </a:lnTo>
                <a:cubicBezTo>
                  <a:pt x="1121301" y="6032807"/>
                  <a:pt x="1187665" y="6285988"/>
                  <a:pt x="1187665" y="6554669"/>
                </a:cubicBezTo>
                <a:cubicBezTo>
                  <a:pt x="1187665" y="7271153"/>
                  <a:pt x="715745" y="7877413"/>
                  <a:pt x="65784" y="8079572"/>
                </a:cubicBezTo>
                <a:close/>
              </a:path>
            </a:pathLst>
          </a:custGeom>
          <a:solidFill>
            <a:schemeClr val="bg1">
              <a:lumMod val="95000"/>
              <a:alpha val="4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1" name="Group 10">
            <a:extLst>
              <a:ext uri="{FF2B5EF4-FFF2-40B4-BE49-F238E27FC236}">
                <a16:creationId xmlns:a16="http://schemas.microsoft.com/office/drawing/2014/main" id="{B5C981D9-49B9-491A-B3BC-BFB48641B3EB}"/>
              </a:ext>
            </a:extLst>
          </p:cNvPr>
          <p:cNvGrpSpPr/>
          <p:nvPr userDrawn="1"/>
        </p:nvGrpSpPr>
        <p:grpSpPr>
          <a:xfrm>
            <a:off x="0" y="2896610"/>
            <a:ext cx="12186364" cy="3961391"/>
            <a:chOff x="0" y="2896610"/>
            <a:chExt cx="12186364" cy="3961391"/>
          </a:xfrm>
        </p:grpSpPr>
        <p:sp>
          <p:nvSpPr>
            <p:cNvPr id="12" name="Freeform: Shape 11">
              <a:extLst>
                <a:ext uri="{FF2B5EF4-FFF2-40B4-BE49-F238E27FC236}">
                  <a16:creationId xmlns:a16="http://schemas.microsoft.com/office/drawing/2014/main" id="{B05F3072-6875-48D5-B6B2-4771D641F1F1}"/>
                </a:ext>
              </a:extLst>
            </p:cNvPr>
            <p:cNvSpPr/>
            <p:nvPr/>
          </p:nvSpPr>
          <p:spPr>
            <a:xfrm rot="16200000">
              <a:off x="2337429" y="559181"/>
              <a:ext cx="3961390" cy="8636247"/>
            </a:xfrm>
            <a:custGeom>
              <a:avLst/>
              <a:gdLst>
                <a:gd name="connsiteX0" fmla="*/ 3961390 w 3961390"/>
                <a:gd name="connsiteY0" fmla="*/ 4610450 h 8636247"/>
                <a:gd name="connsiteX1" fmla="*/ 2262552 w 3961390"/>
                <a:gd name="connsiteY1" fmla="*/ 7149309 h 8636247"/>
                <a:gd name="connsiteX2" fmla="*/ 2139319 w 3961390"/>
                <a:gd name="connsiteY2" fmla="*/ 7184147 h 8636247"/>
                <a:gd name="connsiteX3" fmla="*/ 2131895 w 3961390"/>
                <a:gd name="connsiteY3" fmla="*/ 7345816 h 8636247"/>
                <a:gd name="connsiteX4" fmla="*/ 1429598 w 3961390"/>
                <a:gd name="connsiteY4" fmla="*/ 8582950 h 8636247"/>
                <a:gd name="connsiteX5" fmla="*/ 1343483 w 3961390"/>
                <a:gd name="connsiteY5" fmla="*/ 8636247 h 8636247"/>
                <a:gd name="connsiteX6" fmla="*/ 0 w 3961390"/>
                <a:gd name="connsiteY6" fmla="*/ 8636247 h 8636247"/>
                <a:gd name="connsiteX7" fmla="*/ 0 w 3961390"/>
                <a:gd name="connsiteY7" fmla="*/ 1062710 h 8636247"/>
                <a:gd name="connsiteX8" fmla="*/ 0 w 3961390"/>
                <a:gd name="connsiteY8" fmla="*/ 1062711 h 8636247"/>
                <a:gd name="connsiteX9" fmla="*/ 0 w 3961390"/>
                <a:gd name="connsiteY9" fmla="*/ 0 h 8636247"/>
                <a:gd name="connsiteX10" fmla="*/ 1890648 w 3961390"/>
                <a:gd name="connsiteY10" fmla="*/ 0 h 8636247"/>
                <a:gd name="connsiteX11" fmla="*/ 1709757 w 3961390"/>
                <a:gd name="connsiteY11" fmla="*/ 199030 h 8636247"/>
                <a:gd name="connsiteX12" fmla="*/ 1374205 w 3961390"/>
                <a:gd name="connsiteY12" fmla="*/ 489667 h 8636247"/>
                <a:gd name="connsiteX13" fmla="*/ 1284849 w 3961390"/>
                <a:gd name="connsiteY13" fmla="*/ 551607 h 8636247"/>
                <a:gd name="connsiteX14" fmla="*/ 1310620 w 3961390"/>
                <a:gd name="connsiteY14" fmla="*/ 564310 h 8636247"/>
                <a:gd name="connsiteX15" fmla="*/ 2131895 w 3961390"/>
                <a:gd name="connsiteY15" fmla="*/ 1875083 h 8636247"/>
                <a:gd name="connsiteX16" fmla="*/ 2139319 w 3961390"/>
                <a:gd name="connsiteY16" fmla="*/ 2036752 h 8636247"/>
                <a:gd name="connsiteX17" fmla="*/ 2262552 w 3961390"/>
                <a:gd name="connsiteY17" fmla="*/ 2071591 h 8636247"/>
                <a:gd name="connsiteX18" fmla="*/ 3961390 w 3961390"/>
                <a:gd name="connsiteY18" fmla="*/ 4610450 h 863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61390" h="8636247">
                  <a:moveTo>
                    <a:pt x="3961390" y="4610450"/>
                  </a:moveTo>
                  <a:cubicBezTo>
                    <a:pt x="3961390" y="5803346"/>
                    <a:pt x="3246772" y="6812729"/>
                    <a:pt x="2262552" y="7149309"/>
                  </a:cubicBezTo>
                  <a:lnTo>
                    <a:pt x="2139319" y="7184147"/>
                  </a:lnTo>
                  <a:lnTo>
                    <a:pt x="2131895" y="7345816"/>
                  </a:lnTo>
                  <a:cubicBezTo>
                    <a:pt x="2083662" y="7868003"/>
                    <a:pt x="1814888" y="8318506"/>
                    <a:pt x="1429598" y="8582950"/>
                  </a:cubicBezTo>
                  <a:lnTo>
                    <a:pt x="1343483" y="8636247"/>
                  </a:lnTo>
                  <a:lnTo>
                    <a:pt x="0" y="8636247"/>
                  </a:lnTo>
                  <a:lnTo>
                    <a:pt x="0" y="1062710"/>
                  </a:lnTo>
                  <a:lnTo>
                    <a:pt x="0" y="1062711"/>
                  </a:lnTo>
                  <a:lnTo>
                    <a:pt x="0" y="0"/>
                  </a:lnTo>
                  <a:lnTo>
                    <a:pt x="1890648" y="0"/>
                  </a:lnTo>
                  <a:lnTo>
                    <a:pt x="1709757" y="199030"/>
                  </a:lnTo>
                  <a:cubicBezTo>
                    <a:pt x="1605101" y="303686"/>
                    <a:pt x="1492960" y="400855"/>
                    <a:pt x="1374205" y="489667"/>
                  </a:cubicBezTo>
                  <a:lnTo>
                    <a:pt x="1284849" y="551607"/>
                  </a:lnTo>
                  <a:lnTo>
                    <a:pt x="1310620" y="564310"/>
                  </a:lnTo>
                  <a:cubicBezTo>
                    <a:pt x="1758929" y="813008"/>
                    <a:pt x="2078839" y="1300677"/>
                    <a:pt x="2131895" y="1875083"/>
                  </a:cubicBezTo>
                  <a:lnTo>
                    <a:pt x="2139319" y="2036752"/>
                  </a:lnTo>
                  <a:lnTo>
                    <a:pt x="2262552" y="2071591"/>
                  </a:lnTo>
                  <a:cubicBezTo>
                    <a:pt x="3246772" y="2408171"/>
                    <a:pt x="3961390" y="3417555"/>
                    <a:pt x="3961390" y="4610450"/>
                  </a:cubicBezTo>
                  <a:close/>
                </a:path>
              </a:pathLst>
            </a:custGeom>
            <a:solidFill>
              <a:schemeClr val="bg1">
                <a:lumMod val="95000"/>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6432C025-2EC0-41BB-885B-C36471C00548}"/>
                </a:ext>
              </a:extLst>
            </p:cNvPr>
            <p:cNvSpPr/>
            <p:nvPr/>
          </p:nvSpPr>
          <p:spPr>
            <a:xfrm>
              <a:off x="7545054" y="5070396"/>
              <a:ext cx="4641310" cy="1787605"/>
            </a:xfrm>
            <a:custGeom>
              <a:avLst/>
              <a:gdLst>
                <a:gd name="connsiteX0" fmla="*/ 1965675 w 3931350"/>
                <a:gd name="connsiteY0" fmla="*/ 0 h 1514163"/>
                <a:gd name="connsiteX1" fmla="*/ 3909785 w 3931350"/>
                <a:gd name="connsiteY1" fmla="*/ 1430295 h 1514163"/>
                <a:gd name="connsiteX2" fmla="*/ 3931350 w 3931350"/>
                <a:gd name="connsiteY2" fmla="*/ 1514163 h 1514163"/>
                <a:gd name="connsiteX3" fmla="*/ 0 w 3931350"/>
                <a:gd name="connsiteY3" fmla="*/ 1514163 h 1514163"/>
                <a:gd name="connsiteX4" fmla="*/ 21565 w 3931350"/>
                <a:gd name="connsiteY4" fmla="*/ 1430295 h 1514163"/>
                <a:gd name="connsiteX5" fmla="*/ 1965675 w 3931350"/>
                <a:gd name="connsiteY5" fmla="*/ 0 h 1514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350" h="1514163">
                  <a:moveTo>
                    <a:pt x="1965675" y="0"/>
                  </a:moveTo>
                  <a:cubicBezTo>
                    <a:pt x="2879125" y="0"/>
                    <a:pt x="3652051" y="601655"/>
                    <a:pt x="3909785" y="1430295"/>
                  </a:cubicBezTo>
                  <a:lnTo>
                    <a:pt x="3931350" y="1514163"/>
                  </a:lnTo>
                  <a:lnTo>
                    <a:pt x="0" y="1514163"/>
                  </a:lnTo>
                  <a:lnTo>
                    <a:pt x="21565" y="1430295"/>
                  </a:lnTo>
                  <a:cubicBezTo>
                    <a:pt x="279299" y="601655"/>
                    <a:pt x="1052225" y="0"/>
                    <a:pt x="1965675" y="0"/>
                  </a:cubicBezTo>
                  <a:close/>
                </a:path>
              </a:pathLst>
            </a:custGeom>
            <a:solidFill>
              <a:schemeClr val="bg1">
                <a:lumMod val="9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9" name="Group 8">
            <a:extLst>
              <a:ext uri="{FF2B5EF4-FFF2-40B4-BE49-F238E27FC236}">
                <a16:creationId xmlns:a16="http://schemas.microsoft.com/office/drawing/2014/main" id="{1D3484AB-94FD-485D-A343-BDE7D581B08E}"/>
              </a:ext>
            </a:extLst>
          </p:cNvPr>
          <p:cNvGrpSpPr/>
          <p:nvPr userDrawn="1"/>
        </p:nvGrpSpPr>
        <p:grpSpPr>
          <a:xfrm>
            <a:off x="11058451" y="6273006"/>
            <a:ext cx="631983" cy="488101"/>
            <a:chOff x="11636374" y="558800"/>
            <a:chExt cx="1101726" cy="850900"/>
          </a:xfrm>
        </p:grpSpPr>
        <p:sp>
          <p:nvSpPr>
            <p:cNvPr id="7" name="Oval 6">
              <a:extLst>
                <a:ext uri="{FF2B5EF4-FFF2-40B4-BE49-F238E27FC236}">
                  <a16:creationId xmlns:a16="http://schemas.microsoft.com/office/drawing/2014/main" id="{33244FF7-4B0C-491F-9974-7E7E79C4DA57}"/>
                </a:ext>
              </a:extLst>
            </p:cNvPr>
            <p:cNvSpPr/>
            <p:nvPr userDrawn="1"/>
          </p:nvSpPr>
          <p:spPr>
            <a:xfrm>
              <a:off x="11887200" y="558800"/>
              <a:ext cx="850900" cy="850900"/>
            </a:xfrm>
            <a:prstGeom prst="ellipse">
              <a:avLst/>
            </a:prstGeom>
            <a:solidFill>
              <a:srgbClr val="205D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01D1C934-AD2F-4443-92DF-3CF92D7E6C1C}"/>
                </a:ext>
              </a:extLst>
            </p:cNvPr>
            <p:cNvSpPr/>
            <p:nvPr userDrawn="1"/>
          </p:nvSpPr>
          <p:spPr>
            <a:xfrm>
              <a:off x="11636374" y="908050"/>
              <a:ext cx="501651" cy="501648"/>
            </a:xfrm>
            <a:prstGeom prst="ellipse">
              <a:avLst/>
            </a:prstGeom>
            <a:solidFill>
              <a:srgbClr val="F15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a:extLst>
              <a:ext uri="{FF2B5EF4-FFF2-40B4-BE49-F238E27FC236}">
                <a16:creationId xmlns:a16="http://schemas.microsoft.com/office/drawing/2014/main" id="{F6586E1E-1840-4AB3-91E6-A83526564EAA}"/>
              </a:ext>
            </a:extLst>
          </p:cNvPr>
          <p:cNvSpPr>
            <a:spLocks noGrp="1"/>
          </p:cNvSpPr>
          <p:nvPr>
            <p:ph type="title"/>
          </p:nvPr>
        </p:nvSpPr>
        <p:spPr>
          <a:xfrm>
            <a:off x="571500" y="257045"/>
            <a:ext cx="11049000" cy="965679"/>
          </a:xfrm>
        </p:spPr>
        <p:txBody>
          <a:bodyPr>
            <a:normAutofit/>
          </a:bodyPr>
          <a:lstStyle>
            <a:lvl1pPr algn="ctr">
              <a:defRPr sz="3600" b="1">
                <a:latin typeface="Century Gothic" panose="020B0502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F1FA8F60-D42E-4ED6-A0F9-94CB951CC16C}"/>
              </a:ext>
            </a:extLst>
          </p:cNvPr>
          <p:cNvSpPr>
            <a:spLocks noGrp="1"/>
          </p:cNvSpPr>
          <p:nvPr>
            <p:ph idx="1"/>
          </p:nvPr>
        </p:nvSpPr>
        <p:spPr>
          <a:xfrm>
            <a:off x="571500" y="1575304"/>
            <a:ext cx="11049000" cy="4542812"/>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41B89D-C184-4E8F-9966-0F1F1AFDC950}"/>
              </a:ext>
            </a:extLst>
          </p:cNvPr>
          <p:cNvSpPr>
            <a:spLocks noGrp="1"/>
          </p:cNvSpPr>
          <p:nvPr>
            <p:ph type="dt" sz="half" idx="10"/>
          </p:nvPr>
        </p:nvSpPr>
        <p:spPr>
          <a:xfrm>
            <a:off x="571500" y="6356350"/>
            <a:ext cx="2743200" cy="365125"/>
          </a:xfrm>
        </p:spPr>
        <p:txBody>
          <a:bodyPr/>
          <a:lstStyle/>
          <a:p>
            <a:fld id="{68858C17-BDEA-4474-A895-67B2170B9E0E}" type="datetime1">
              <a:rPr lang="en-US" smtClean="0"/>
              <a:t>8/5/2021</a:t>
            </a:fld>
            <a:endParaRPr lang="en-US"/>
          </a:p>
        </p:txBody>
      </p:sp>
      <p:sp>
        <p:nvSpPr>
          <p:cNvPr id="5" name="Footer Placeholder 4">
            <a:extLst>
              <a:ext uri="{FF2B5EF4-FFF2-40B4-BE49-F238E27FC236}">
                <a16:creationId xmlns:a16="http://schemas.microsoft.com/office/drawing/2014/main" id="{280F07B5-651F-4E31-9779-4763E8C0DF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0F4D0C-4F75-4B02-9747-A53F80238F15}"/>
              </a:ext>
            </a:extLst>
          </p:cNvPr>
          <p:cNvSpPr>
            <a:spLocks noGrp="1"/>
          </p:cNvSpPr>
          <p:nvPr>
            <p:ph type="sldNum" sz="quarter" idx="12"/>
          </p:nvPr>
        </p:nvSpPr>
        <p:spPr>
          <a:xfrm>
            <a:off x="11261768" y="6356350"/>
            <a:ext cx="361950" cy="365125"/>
          </a:xfrm>
        </p:spPr>
        <p:txBody>
          <a:bodyPr/>
          <a:lstStyle>
            <a:lvl1pPr algn="ctr">
              <a:defRPr sz="1100">
                <a:solidFill>
                  <a:schemeClr val="bg1"/>
                </a:solidFill>
              </a:defRPr>
            </a:lvl1pPr>
          </a:lstStyle>
          <a:p>
            <a:fld id="{9AD71B9F-3993-4306-BFF8-A983D4BB9097}" type="slidenum">
              <a:rPr lang="en-US" smtClean="0"/>
              <a:pPr/>
              <a:t>‹#›</a:t>
            </a:fld>
            <a:endParaRPr lang="en-US"/>
          </a:p>
        </p:txBody>
      </p:sp>
      <p:grpSp>
        <p:nvGrpSpPr>
          <p:cNvPr id="14" name="Group 13">
            <a:extLst>
              <a:ext uri="{FF2B5EF4-FFF2-40B4-BE49-F238E27FC236}">
                <a16:creationId xmlns:a16="http://schemas.microsoft.com/office/drawing/2014/main" id="{6EF01C64-3631-4A3E-94D1-D4C93D2895BC}"/>
              </a:ext>
            </a:extLst>
          </p:cNvPr>
          <p:cNvGrpSpPr/>
          <p:nvPr userDrawn="1"/>
        </p:nvGrpSpPr>
        <p:grpSpPr>
          <a:xfrm>
            <a:off x="0" y="-606158"/>
            <a:ext cx="1393632" cy="341612"/>
            <a:chOff x="0" y="-685429"/>
            <a:chExt cx="2040418" cy="500154"/>
          </a:xfrm>
        </p:grpSpPr>
        <p:sp>
          <p:nvSpPr>
            <p:cNvPr id="15" name="Oval 14">
              <a:extLst>
                <a:ext uri="{FF2B5EF4-FFF2-40B4-BE49-F238E27FC236}">
                  <a16:creationId xmlns:a16="http://schemas.microsoft.com/office/drawing/2014/main" id="{CEABE66D-7694-4B32-84A1-993E5CF2F481}"/>
                </a:ext>
              </a:extLst>
            </p:cNvPr>
            <p:cNvSpPr/>
            <p:nvPr/>
          </p:nvSpPr>
          <p:spPr>
            <a:xfrm flipV="1">
              <a:off x="0" y="-685429"/>
              <a:ext cx="500153" cy="500154"/>
            </a:xfrm>
            <a:prstGeom prst="ellipse">
              <a:avLst/>
            </a:prstGeom>
            <a:solidFill>
              <a:srgbClr val="205D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EAC27BA4-719C-4D45-91C0-B9B59396FC9B}"/>
                </a:ext>
              </a:extLst>
            </p:cNvPr>
            <p:cNvSpPr/>
            <p:nvPr/>
          </p:nvSpPr>
          <p:spPr>
            <a:xfrm flipV="1">
              <a:off x="770132" y="-685429"/>
              <a:ext cx="500153" cy="500154"/>
            </a:xfrm>
            <a:prstGeom prst="ellipse">
              <a:avLst/>
            </a:prstGeom>
            <a:solidFill>
              <a:srgbClr val="F15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CF2C1C4A-9203-47FE-8697-62C635DF5C4C}"/>
                </a:ext>
              </a:extLst>
            </p:cNvPr>
            <p:cNvSpPr/>
            <p:nvPr/>
          </p:nvSpPr>
          <p:spPr>
            <a:xfrm flipV="1">
              <a:off x="1540265" y="-685429"/>
              <a:ext cx="500153" cy="500154"/>
            </a:xfrm>
            <a:prstGeom prst="ellipse">
              <a:avLst/>
            </a:prstGeom>
            <a:solidFill>
              <a:srgbClr val="3532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979970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284DF-5B38-4088-9460-168D166AEF2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7E139CD-BC04-4084-8481-55473A70E3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A8F86D7-2C0C-4AFA-B9BF-D177C100268A}"/>
              </a:ext>
            </a:extLst>
          </p:cNvPr>
          <p:cNvSpPr>
            <a:spLocks noGrp="1"/>
          </p:cNvSpPr>
          <p:nvPr>
            <p:ph type="dt" sz="half" idx="10"/>
          </p:nvPr>
        </p:nvSpPr>
        <p:spPr/>
        <p:txBody>
          <a:bodyPr/>
          <a:lstStyle/>
          <a:p>
            <a:fld id="{1438FD22-B07A-4E15-9375-764679C9222A}" type="datetime1">
              <a:rPr lang="en-US" smtClean="0"/>
              <a:t>8/5/2021</a:t>
            </a:fld>
            <a:endParaRPr lang="en-US"/>
          </a:p>
        </p:txBody>
      </p:sp>
      <p:sp>
        <p:nvSpPr>
          <p:cNvPr id="5" name="Footer Placeholder 4">
            <a:extLst>
              <a:ext uri="{FF2B5EF4-FFF2-40B4-BE49-F238E27FC236}">
                <a16:creationId xmlns:a16="http://schemas.microsoft.com/office/drawing/2014/main" id="{E0D69711-3A62-4828-AADE-5900652336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3A362C-D9BE-43C6-BFE0-3128B653CF26}"/>
              </a:ext>
            </a:extLst>
          </p:cNvPr>
          <p:cNvSpPr>
            <a:spLocks noGrp="1"/>
          </p:cNvSpPr>
          <p:nvPr>
            <p:ph type="sldNum" sz="quarter" idx="12"/>
          </p:nvPr>
        </p:nvSpPr>
        <p:spPr/>
        <p:txBody>
          <a:bodyPr/>
          <a:lstStyle/>
          <a:p>
            <a:fld id="{9AD71B9F-3993-4306-BFF8-A983D4BB9097}" type="slidenum">
              <a:rPr lang="en-US" smtClean="0"/>
              <a:t>‹#›</a:t>
            </a:fld>
            <a:endParaRPr lang="en-US"/>
          </a:p>
        </p:txBody>
      </p:sp>
    </p:spTree>
    <p:extLst>
      <p:ext uri="{BB962C8B-B14F-4D97-AF65-F5344CB8AC3E}">
        <p14:creationId xmlns:p14="http://schemas.microsoft.com/office/powerpoint/2010/main" val="28674460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563F6-3558-480A-9CC2-87BE8CE9E2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F5878EC-C4E9-411C-BC68-822B3E31794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A364ED5-047E-4D13-A4C5-4B1F01B9CF7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60C71F0-9D92-4704-9A30-EDDB8BFBB317}"/>
              </a:ext>
            </a:extLst>
          </p:cNvPr>
          <p:cNvSpPr>
            <a:spLocks noGrp="1"/>
          </p:cNvSpPr>
          <p:nvPr>
            <p:ph type="dt" sz="half" idx="10"/>
          </p:nvPr>
        </p:nvSpPr>
        <p:spPr/>
        <p:txBody>
          <a:bodyPr/>
          <a:lstStyle/>
          <a:p>
            <a:fld id="{90D24491-ECCE-4F0C-9B05-2A9B3E851973}" type="datetime1">
              <a:rPr lang="en-US" smtClean="0"/>
              <a:t>8/5/2021</a:t>
            </a:fld>
            <a:endParaRPr lang="en-US"/>
          </a:p>
        </p:txBody>
      </p:sp>
      <p:sp>
        <p:nvSpPr>
          <p:cNvPr id="6" name="Footer Placeholder 5">
            <a:extLst>
              <a:ext uri="{FF2B5EF4-FFF2-40B4-BE49-F238E27FC236}">
                <a16:creationId xmlns:a16="http://schemas.microsoft.com/office/drawing/2014/main" id="{09DAAEC3-82ED-4B6F-9A0D-DA589C1F09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85BACA-1AF9-4E92-B4A7-366AE817003C}"/>
              </a:ext>
            </a:extLst>
          </p:cNvPr>
          <p:cNvSpPr>
            <a:spLocks noGrp="1"/>
          </p:cNvSpPr>
          <p:nvPr>
            <p:ph type="sldNum" sz="quarter" idx="12"/>
          </p:nvPr>
        </p:nvSpPr>
        <p:spPr/>
        <p:txBody>
          <a:bodyPr/>
          <a:lstStyle/>
          <a:p>
            <a:fld id="{9AD71B9F-3993-4306-BFF8-A983D4BB9097}" type="slidenum">
              <a:rPr lang="en-US" smtClean="0"/>
              <a:t>‹#›</a:t>
            </a:fld>
            <a:endParaRPr lang="en-US"/>
          </a:p>
        </p:txBody>
      </p:sp>
    </p:spTree>
    <p:extLst>
      <p:ext uri="{BB962C8B-B14F-4D97-AF65-F5344CB8AC3E}">
        <p14:creationId xmlns:p14="http://schemas.microsoft.com/office/powerpoint/2010/main" val="11131877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7EB7E4-F118-4D6A-A045-683D13C566B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B958CF6-D523-4429-A46A-D2A50B538F4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392F20B-FC42-413A-975D-70D4C7B3D72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892E7FB-6215-449F-8902-9D2EE0286CE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36EE10-8AD5-4864-8202-BC4D9D0BBE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763F29B-1B27-4159-B7F3-A0507E8DEF53}"/>
              </a:ext>
            </a:extLst>
          </p:cNvPr>
          <p:cNvSpPr>
            <a:spLocks noGrp="1"/>
          </p:cNvSpPr>
          <p:nvPr>
            <p:ph type="dt" sz="half" idx="10"/>
          </p:nvPr>
        </p:nvSpPr>
        <p:spPr/>
        <p:txBody>
          <a:bodyPr/>
          <a:lstStyle/>
          <a:p>
            <a:fld id="{2F43D97A-2705-48DC-96F3-02D6F6734BE8}" type="datetime1">
              <a:rPr lang="en-US" smtClean="0"/>
              <a:t>8/5/2021</a:t>
            </a:fld>
            <a:endParaRPr lang="en-US"/>
          </a:p>
        </p:txBody>
      </p:sp>
      <p:sp>
        <p:nvSpPr>
          <p:cNvPr id="8" name="Footer Placeholder 7">
            <a:extLst>
              <a:ext uri="{FF2B5EF4-FFF2-40B4-BE49-F238E27FC236}">
                <a16:creationId xmlns:a16="http://schemas.microsoft.com/office/drawing/2014/main" id="{F276C842-9D7C-458D-9819-B365EA36D08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23D23A0-912D-474B-B74F-F91550FDE2AF}"/>
              </a:ext>
            </a:extLst>
          </p:cNvPr>
          <p:cNvSpPr>
            <a:spLocks noGrp="1"/>
          </p:cNvSpPr>
          <p:nvPr>
            <p:ph type="sldNum" sz="quarter" idx="12"/>
          </p:nvPr>
        </p:nvSpPr>
        <p:spPr/>
        <p:txBody>
          <a:bodyPr/>
          <a:lstStyle/>
          <a:p>
            <a:fld id="{9AD71B9F-3993-4306-BFF8-A983D4BB9097}" type="slidenum">
              <a:rPr lang="en-US" smtClean="0"/>
              <a:t>‹#›</a:t>
            </a:fld>
            <a:endParaRPr lang="en-US"/>
          </a:p>
        </p:txBody>
      </p:sp>
    </p:spTree>
    <p:extLst>
      <p:ext uri="{BB962C8B-B14F-4D97-AF65-F5344CB8AC3E}">
        <p14:creationId xmlns:p14="http://schemas.microsoft.com/office/powerpoint/2010/main" val="2426232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F502B-3FBB-46E7-942F-BBC364DD19C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65FF2E3-9028-4B76-93E3-B159E73500EE}"/>
              </a:ext>
            </a:extLst>
          </p:cNvPr>
          <p:cNvSpPr>
            <a:spLocks noGrp="1"/>
          </p:cNvSpPr>
          <p:nvPr>
            <p:ph type="dt" sz="half" idx="10"/>
          </p:nvPr>
        </p:nvSpPr>
        <p:spPr/>
        <p:txBody>
          <a:bodyPr/>
          <a:lstStyle/>
          <a:p>
            <a:fld id="{36C0773C-B5C2-414E-B202-209D6C457B93}" type="datetime1">
              <a:rPr lang="en-US" smtClean="0"/>
              <a:t>8/5/2021</a:t>
            </a:fld>
            <a:endParaRPr lang="en-US"/>
          </a:p>
        </p:txBody>
      </p:sp>
      <p:sp>
        <p:nvSpPr>
          <p:cNvPr id="4" name="Footer Placeholder 3">
            <a:extLst>
              <a:ext uri="{FF2B5EF4-FFF2-40B4-BE49-F238E27FC236}">
                <a16:creationId xmlns:a16="http://schemas.microsoft.com/office/drawing/2014/main" id="{2CD64999-F5F3-4A83-9B28-8C1A40F18DF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5228276-ABBF-4364-B9AD-DC68FE5AFC12}"/>
              </a:ext>
            </a:extLst>
          </p:cNvPr>
          <p:cNvSpPr>
            <a:spLocks noGrp="1"/>
          </p:cNvSpPr>
          <p:nvPr>
            <p:ph type="sldNum" sz="quarter" idx="12"/>
          </p:nvPr>
        </p:nvSpPr>
        <p:spPr/>
        <p:txBody>
          <a:bodyPr/>
          <a:lstStyle/>
          <a:p>
            <a:fld id="{9AD71B9F-3993-4306-BFF8-A983D4BB9097}" type="slidenum">
              <a:rPr lang="en-US" smtClean="0"/>
              <a:t>‹#›</a:t>
            </a:fld>
            <a:endParaRPr lang="en-US"/>
          </a:p>
        </p:txBody>
      </p:sp>
    </p:spTree>
    <p:extLst>
      <p:ext uri="{BB962C8B-B14F-4D97-AF65-F5344CB8AC3E}">
        <p14:creationId xmlns:p14="http://schemas.microsoft.com/office/powerpoint/2010/main" val="16479095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861156-6F62-4A97-A535-816FC0E81456}"/>
              </a:ext>
            </a:extLst>
          </p:cNvPr>
          <p:cNvSpPr>
            <a:spLocks noGrp="1"/>
          </p:cNvSpPr>
          <p:nvPr>
            <p:ph type="dt" sz="half" idx="10"/>
          </p:nvPr>
        </p:nvSpPr>
        <p:spPr/>
        <p:txBody>
          <a:bodyPr/>
          <a:lstStyle/>
          <a:p>
            <a:fld id="{09F7729D-3C59-4E02-8001-0B8EE89BB2DD}" type="datetime1">
              <a:rPr lang="en-US" smtClean="0"/>
              <a:t>8/5/2021</a:t>
            </a:fld>
            <a:endParaRPr lang="en-US"/>
          </a:p>
        </p:txBody>
      </p:sp>
      <p:sp>
        <p:nvSpPr>
          <p:cNvPr id="3" name="Footer Placeholder 2">
            <a:extLst>
              <a:ext uri="{FF2B5EF4-FFF2-40B4-BE49-F238E27FC236}">
                <a16:creationId xmlns:a16="http://schemas.microsoft.com/office/drawing/2014/main" id="{3A371452-E596-4CE1-A791-E188F6F07E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C412C77-84B4-41B6-91F6-D15E02A5DEBE}"/>
              </a:ext>
            </a:extLst>
          </p:cNvPr>
          <p:cNvSpPr>
            <a:spLocks noGrp="1"/>
          </p:cNvSpPr>
          <p:nvPr>
            <p:ph type="sldNum" sz="quarter" idx="12"/>
          </p:nvPr>
        </p:nvSpPr>
        <p:spPr/>
        <p:txBody>
          <a:bodyPr/>
          <a:lstStyle/>
          <a:p>
            <a:fld id="{9AD71B9F-3993-4306-BFF8-A983D4BB9097}" type="slidenum">
              <a:rPr lang="en-US" smtClean="0"/>
              <a:t>‹#›</a:t>
            </a:fld>
            <a:endParaRPr lang="en-US"/>
          </a:p>
        </p:txBody>
      </p:sp>
    </p:spTree>
    <p:extLst>
      <p:ext uri="{BB962C8B-B14F-4D97-AF65-F5344CB8AC3E}">
        <p14:creationId xmlns:p14="http://schemas.microsoft.com/office/powerpoint/2010/main" val="1632104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6ECE3-2645-4BAA-83C6-EBB973F59F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97DD8A-AA9D-4746-A3FC-42FE7D88E3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47E522-C4D4-430C-8FBF-B78769A26036}"/>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7C6E5A2E-6573-46A5-B5F8-BD6277988B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2D36C4-049A-43F2-9676-C014FB3FBEFE}"/>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4305236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66EB1-E17A-4051-8569-1942F45A4B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95796CD-9630-4D7F-9F8A-8E40200BEBD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F08E341-9335-497C-81EC-78EC1A1C3D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9124BB-4905-416C-9C18-C9000B5B5D03}"/>
              </a:ext>
            </a:extLst>
          </p:cNvPr>
          <p:cNvSpPr>
            <a:spLocks noGrp="1"/>
          </p:cNvSpPr>
          <p:nvPr>
            <p:ph type="dt" sz="half" idx="10"/>
          </p:nvPr>
        </p:nvSpPr>
        <p:spPr/>
        <p:txBody>
          <a:bodyPr/>
          <a:lstStyle/>
          <a:p>
            <a:fld id="{AF8A5C69-A14E-4E8C-B998-446850395057}" type="datetime1">
              <a:rPr lang="en-US" smtClean="0"/>
              <a:t>8/5/2021</a:t>
            </a:fld>
            <a:endParaRPr lang="en-US"/>
          </a:p>
        </p:txBody>
      </p:sp>
      <p:sp>
        <p:nvSpPr>
          <p:cNvPr id="6" name="Footer Placeholder 5">
            <a:extLst>
              <a:ext uri="{FF2B5EF4-FFF2-40B4-BE49-F238E27FC236}">
                <a16:creationId xmlns:a16="http://schemas.microsoft.com/office/drawing/2014/main" id="{34724643-D6F2-4F2E-B9E7-549DBDA99E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832712-F9E1-4F4B-AF82-F4CAB5C96042}"/>
              </a:ext>
            </a:extLst>
          </p:cNvPr>
          <p:cNvSpPr>
            <a:spLocks noGrp="1"/>
          </p:cNvSpPr>
          <p:nvPr>
            <p:ph type="sldNum" sz="quarter" idx="12"/>
          </p:nvPr>
        </p:nvSpPr>
        <p:spPr/>
        <p:txBody>
          <a:bodyPr/>
          <a:lstStyle/>
          <a:p>
            <a:fld id="{9AD71B9F-3993-4306-BFF8-A983D4BB9097}" type="slidenum">
              <a:rPr lang="en-US" smtClean="0"/>
              <a:t>‹#›</a:t>
            </a:fld>
            <a:endParaRPr lang="en-US"/>
          </a:p>
        </p:txBody>
      </p:sp>
    </p:spTree>
    <p:extLst>
      <p:ext uri="{BB962C8B-B14F-4D97-AF65-F5344CB8AC3E}">
        <p14:creationId xmlns:p14="http://schemas.microsoft.com/office/powerpoint/2010/main" val="36552729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E0C93-1151-4FF9-9C8C-9EABF31421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473EF4F-1601-42A5-931C-273743B01A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331D2FF-4FFA-44FD-9A19-BBB657DFD4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B8086EE-BB6E-4B49-8B11-0C03D4885F27}"/>
              </a:ext>
            </a:extLst>
          </p:cNvPr>
          <p:cNvSpPr>
            <a:spLocks noGrp="1"/>
          </p:cNvSpPr>
          <p:nvPr>
            <p:ph type="dt" sz="half" idx="10"/>
          </p:nvPr>
        </p:nvSpPr>
        <p:spPr/>
        <p:txBody>
          <a:bodyPr/>
          <a:lstStyle/>
          <a:p>
            <a:fld id="{E0B26605-B212-46A0-94E6-547F14FEAD90}" type="datetime1">
              <a:rPr lang="en-US" smtClean="0"/>
              <a:t>8/5/2021</a:t>
            </a:fld>
            <a:endParaRPr lang="en-US"/>
          </a:p>
        </p:txBody>
      </p:sp>
      <p:sp>
        <p:nvSpPr>
          <p:cNvPr id="6" name="Footer Placeholder 5">
            <a:extLst>
              <a:ext uri="{FF2B5EF4-FFF2-40B4-BE49-F238E27FC236}">
                <a16:creationId xmlns:a16="http://schemas.microsoft.com/office/drawing/2014/main" id="{F0C1C1CE-2A7C-40B3-ACB5-39D16E51982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263883-E440-4017-90B1-4E08D32E436D}"/>
              </a:ext>
            </a:extLst>
          </p:cNvPr>
          <p:cNvSpPr>
            <a:spLocks noGrp="1"/>
          </p:cNvSpPr>
          <p:nvPr>
            <p:ph type="sldNum" sz="quarter" idx="12"/>
          </p:nvPr>
        </p:nvSpPr>
        <p:spPr/>
        <p:txBody>
          <a:bodyPr/>
          <a:lstStyle/>
          <a:p>
            <a:fld id="{9AD71B9F-3993-4306-BFF8-A983D4BB9097}" type="slidenum">
              <a:rPr lang="en-US" smtClean="0"/>
              <a:t>‹#›</a:t>
            </a:fld>
            <a:endParaRPr lang="en-US"/>
          </a:p>
        </p:txBody>
      </p:sp>
    </p:spTree>
    <p:extLst>
      <p:ext uri="{BB962C8B-B14F-4D97-AF65-F5344CB8AC3E}">
        <p14:creationId xmlns:p14="http://schemas.microsoft.com/office/powerpoint/2010/main" val="89210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8ECD5-A364-454A-8922-53CAA65A9EE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C49077F-34E8-4CDC-AF3E-98D53085F4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438A45-323D-4DA1-A97C-F0487DF850FD}"/>
              </a:ext>
            </a:extLst>
          </p:cNvPr>
          <p:cNvSpPr>
            <a:spLocks noGrp="1"/>
          </p:cNvSpPr>
          <p:nvPr>
            <p:ph type="dt" sz="half" idx="10"/>
          </p:nvPr>
        </p:nvSpPr>
        <p:spPr/>
        <p:txBody>
          <a:bodyPr/>
          <a:lstStyle/>
          <a:p>
            <a:fld id="{01FC34FE-5891-4C61-8BEC-6086F1F27A82}" type="datetime1">
              <a:rPr lang="en-US" smtClean="0"/>
              <a:t>8/5/2021</a:t>
            </a:fld>
            <a:endParaRPr lang="en-US"/>
          </a:p>
        </p:txBody>
      </p:sp>
      <p:sp>
        <p:nvSpPr>
          <p:cNvPr id="5" name="Footer Placeholder 4">
            <a:extLst>
              <a:ext uri="{FF2B5EF4-FFF2-40B4-BE49-F238E27FC236}">
                <a16:creationId xmlns:a16="http://schemas.microsoft.com/office/drawing/2014/main" id="{112427FD-4392-4759-A39E-0ECED790B3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A8C1B4-FE8C-44F7-A811-B458C17655D3}"/>
              </a:ext>
            </a:extLst>
          </p:cNvPr>
          <p:cNvSpPr>
            <a:spLocks noGrp="1"/>
          </p:cNvSpPr>
          <p:nvPr>
            <p:ph type="sldNum" sz="quarter" idx="12"/>
          </p:nvPr>
        </p:nvSpPr>
        <p:spPr/>
        <p:txBody>
          <a:bodyPr/>
          <a:lstStyle/>
          <a:p>
            <a:fld id="{9AD71B9F-3993-4306-BFF8-A983D4BB9097}" type="slidenum">
              <a:rPr lang="en-US" smtClean="0"/>
              <a:t>‹#›</a:t>
            </a:fld>
            <a:endParaRPr lang="en-US"/>
          </a:p>
        </p:txBody>
      </p:sp>
    </p:spTree>
    <p:extLst>
      <p:ext uri="{BB962C8B-B14F-4D97-AF65-F5344CB8AC3E}">
        <p14:creationId xmlns:p14="http://schemas.microsoft.com/office/powerpoint/2010/main" val="36450745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F3E7E7-576A-46F8-BBF2-55E7A3B1F77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A0C4A07-B460-46A7-B4C5-D6BF45B9590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C979AD-46D0-42CA-B0B8-F92D8F319355}"/>
              </a:ext>
            </a:extLst>
          </p:cNvPr>
          <p:cNvSpPr>
            <a:spLocks noGrp="1"/>
          </p:cNvSpPr>
          <p:nvPr>
            <p:ph type="dt" sz="half" idx="10"/>
          </p:nvPr>
        </p:nvSpPr>
        <p:spPr/>
        <p:txBody>
          <a:bodyPr/>
          <a:lstStyle/>
          <a:p>
            <a:fld id="{312C957C-74AD-449A-BC1F-874CBC7D4573}" type="datetime1">
              <a:rPr lang="en-US" smtClean="0"/>
              <a:t>8/5/2021</a:t>
            </a:fld>
            <a:endParaRPr lang="en-US"/>
          </a:p>
        </p:txBody>
      </p:sp>
      <p:sp>
        <p:nvSpPr>
          <p:cNvPr id="5" name="Footer Placeholder 4">
            <a:extLst>
              <a:ext uri="{FF2B5EF4-FFF2-40B4-BE49-F238E27FC236}">
                <a16:creationId xmlns:a16="http://schemas.microsoft.com/office/drawing/2014/main" id="{83F301E5-C7AE-4BC5-94FC-709537BAAB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7A2733-9548-45AB-B2F8-37571669AED8}"/>
              </a:ext>
            </a:extLst>
          </p:cNvPr>
          <p:cNvSpPr>
            <a:spLocks noGrp="1"/>
          </p:cNvSpPr>
          <p:nvPr>
            <p:ph type="sldNum" sz="quarter" idx="12"/>
          </p:nvPr>
        </p:nvSpPr>
        <p:spPr/>
        <p:txBody>
          <a:bodyPr/>
          <a:lstStyle/>
          <a:p>
            <a:fld id="{9AD71B9F-3993-4306-BFF8-A983D4BB9097}" type="slidenum">
              <a:rPr lang="en-US" smtClean="0"/>
              <a:t>‹#›</a:t>
            </a:fld>
            <a:endParaRPr lang="en-US"/>
          </a:p>
        </p:txBody>
      </p:sp>
    </p:spTree>
    <p:extLst>
      <p:ext uri="{BB962C8B-B14F-4D97-AF65-F5344CB8AC3E}">
        <p14:creationId xmlns:p14="http://schemas.microsoft.com/office/powerpoint/2010/main" val="24350519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BE2CB-927E-4ECA-A119-454FF0E510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6707F5D-E9A0-4285-87E8-812FCADD7B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9237A60-CFF9-48B6-BF9B-62E74659A666}"/>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A7162D13-DE68-4BBC-8E1A-ECA63044F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6C8BED-487E-4C3B-8BED-9E2E7E9EC17D}"/>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5398790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6ECE3-2645-4BAA-83C6-EBB973F59F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97DD8A-AA9D-4746-A3FC-42FE7D88E3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47E522-C4D4-430C-8FBF-B78769A26036}"/>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7C6E5A2E-6573-46A5-B5F8-BD6277988B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2D36C4-049A-43F2-9676-C014FB3FBEFE}"/>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5777757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59F1E-8E87-4F34-B677-536FEEAA36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5F156A6-87A3-405A-8D9F-277DE5D883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7935AD-1F2B-465A-9CF0-28AB9560A5FE}"/>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C06B5AB1-B975-4EEF-BD4F-8D741A7189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89726C-1C4E-4A4F-BA30-B686EE4B7152}"/>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9943386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B9C53-5568-4415-9448-FD8221E489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AC2FC3-E11E-469E-8BC2-B3572576C0F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6F7E116-F30B-473F-8FF7-C2672188ABA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29B51B2-51B4-445C-AB4F-4051967BFBEA}"/>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61A8085E-EBB6-4021-A018-FB6DE2F2BC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67048F-480D-42AD-84B1-0CB0294CE0D4}"/>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13746628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96703-5F20-430E-83DD-CF0FA7AC794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44B1176-7076-414F-82AF-A22A1DF27A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00AD683-91A7-4FA3-8CFE-B69A971D832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169756-36AA-4408-A350-6091FFEB04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01C064-CEA4-435E-8245-BAA43B40D4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4A1F18-02DD-4276-8F7F-4D18C444F91F}"/>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8" name="Footer Placeholder 7">
            <a:extLst>
              <a:ext uri="{FF2B5EF4-FFF2-40B4-BE49-F238E27FC236}">
                <a16:creationId xmlns:a16="http://schemas.microsoft.com/office/drawing/2014/main" id="{900FCCE2-D7E5-443D-B5D4-ABEF547F410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B2661B0-13BF-4412-BE11-DEA73A17F15F}"/>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5230621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CAA0B-E352-47D4-995E-AF28E2C3580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B623314-E463-41E2-98F5-A1CEA54B8DB0}"/>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4" name="Footer Placeholder 3">
            <a:extLst>
              <a:ext uri="{FF2B5EF4-FFF2-40B4-BE49-F238E27FC236}">
                <a16:creationId xmlns:a16="http://schemas.microsoft.com/office/drawing/2014/main" id="{B69FFE04-4A73-4A75-BD6E-4AF3C8BAE6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64905C2-8630-457B-BC2D-CE20C208A4B0}"/>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478170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59F1E-8E87-4F34-B677-536FEEAA36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5F156A6-87A3-405A-8D9F-277DE5D883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7935AD-1F2B-465A-9CF0-28AB9560A5FE}"/>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C06B5AB1-B975-4EEF-BD4F-8D741A7189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89726C-1C4E-4A4F-BA30-B686EE4B7152}"/>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18455014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1BCC47-EDBE-4B21-92F5-86F644322202}"/>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3" name="Footer Placeholder 2">
            <a:extLst>
              <a:ext uri="{FF2B5EF4-FFF2-40B4-BE49-F238E27FC236}">
                <a16:creationId xmlns:a16="http://schemas.microsoft.com/office/drawing/2014/main" id="{CCAF4F7A-8564-48FE-8B6C-6C609332E8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7E615B8-7F62-4C6C-BBA0-CF6868399387}"/>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6657766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DA5BA-4DCF-4620-857B-5720B1769D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CE06997-A92F-4C83-AB8D-417741D7704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DE82559-5E68-421E-8EF0-87BD6C1306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E955CB-9C1C-4BCE-A077-AB772D368B69}"/>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25FEC6FE-97F3-41C7-9E30-708583715F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E040D0-51C5-429B-810D-D631A5CC358F}"/>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42446747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1B98B-9F25-4753-87F4-21C342C687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FE7F2B-643F-4AA7-8370-5C7086D0DD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F431502-E7A0-4441-9B15-55FADD9B87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ACF0080-7AF8-4DE6-A3CE-AB2346117723}"/>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2DF5A7C9-68F1-41B3-BA02-DEBF535D5B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B80D7B-6012-4DBB-B317-CD9EDACE77F9}"/>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8803283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C7D00-370F-4C54-BEAC-D77B3AECF73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DB476DB-A6E1-4589-A1E6-035048CA42F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F4001A-5F3B-4FE4-A795-3B09BBE87F8D}"/>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B65069EB-DB39-4C97-ADCA-138C8EBBEB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197B06-CE87-453E-B691-BB6461B5E736}"/>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8637796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A9998C-3BDA-43D4-991D-6CFBD91CF1A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2BACDC-4851-4B7A-BF29-BB5E68CCF9E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CB8E39-8428-44EE-A046-3D48C86490C7}"/>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F50D6251-7B74-4A7B-AFD0-1C5F40120A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697550-297B-4E00-B3AF-38816412A588}"/>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783080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BE2CB-927E-4ECA-A119-454FF0E510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6707F5D-E9A0-4285-87E8-812FCADD7B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9237A60-CFF9-48B6-BF9B-62E74659A666}"/>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A7162D13-DE68-4BBC-8E1A-ECA63044F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6C8BED-487E-4C3B-8BED-9E2E7E9EC17D}"/>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7186325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6ECE3-2645-4BAA-83C6-EBB973F59F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97DD8A-AA9D-4746-A3FC-42FE7D88E3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47E522-C4D4-430C-8FBF-B78769A26036}"/>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7C6E5A2E-6573-46A5-B5F8-BD6277988B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2D36C4-049A-43F2-9676-C014FB3FBEFE}"/>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10468486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59F1E-8E87-4F34-B677-536FEEAA36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5F156A6-87A3-405A-8D9F-277DE5D883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7935AD-1F2B-465A-9CF0-28AB9560A5FE}"/>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C06B5AB1-B975-4EEF-BD4F-8D741A7189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89726C-1C4E-4A4F-BA30-B686EE4B7152}"/>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6520309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B9C53-5568-4415-9448-FD8221E489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AC2FC3-E11E-469E-8BC2-B3572576C0F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6F7E116-F30B-473F-8FF7-C2672188ABA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29B51B2-51B4-445C-AB4F-4051967BFBEA}"/>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61A8085E-EBB6-4021-A018-FB6DE2F2BC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67048F-480D-42AD-84B1-0CB0294CE0D4}"/>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18891999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96703-5F20-430E-83DD-CF0FA7AC794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44B1176-7076-414F-82AF-A22A1DF27A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00AD683-91A7-4FA3-8CFE-B69A971D832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169756-36AA-4408-A350-6091FFEB04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01C064-CEA4-435E-8245-BAA43B40D4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4A1F18-02DD-4276-8F7F-4D18C444F91F}"/>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8" name="Footer Placeholder 7">
            <a:extLst>
              <a:ext uri="{FF2B5EF4-FFF2-40B4-BE49-F238E27FC236}">
                <a16:creationId xmlns:a16="http://schemas.microsoft.com/office/drawing/2014/main" id="{900FCCE2-D7E5-443D-B5D4-ABEF547F410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B2661B0-13BF-4412-BE11-DEA73A17F15F}"/>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4271932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B9C53-5568-4415-9448-FD8221E489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AC2FC3-E11E-469E-8BC2-B3572576C0F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6F7E116-F30B-473F-8FF7-C2672188ABA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29B51B2-51B4-445C-AB4F-4051967BFBEA}"/>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61A8085E-EBB6-4021-A018-FB6DE2F2BC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67048F-480D-42AD-84B1-0CB0294CE0D4}"/>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11636039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CAA0B-E352-47D4-995E-AF28E2C3580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B623314-E463-41E2-98F5-A1CEA54B8DB0}"/>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4" name="Footer Placeholder 3">
            <a:extLst>
              <a:ext uri="{FF2B5EF4-FFF2-40B4-BE49-F238E27FC236}">
                <a16:creationId xmlns:a16="http://schemas.microsoft.com/office/drawing/2014/main" id="{B69FFE04-4A73-4A75-BD6E-4AF3C8BAE6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64905C2-8630-457B-BC2D-CE20C208A4B0}"/>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2038515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1BCC47-EDBE-4B21-92F5-86F644322202}"/>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3" name="Footer Placeholder 2">
            <a:extLst>
              <a:ext uri="{FF2B5EF4-FFF2-40B4-BE49-F238E27FC236}">
                <a16:creationId xmlns:a16="http://schemas.microsoft.com/office/drawing/2014/main" id="{CCAF4F7A-8564-48FE-8B6C-6C609332E8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7E615B8-7F62-4C6C-BBA0-CF6868399387}"/>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12855547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DA5BA-4DCF-4620-857B-5720B1769D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CE06997-A92F-4C83-AB8D-417741D7704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DE82559-5E68-421E-8EF0-87BD6C1306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E955CB-9C1C-4BCE-A077-AB772D368B69}"/>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25FEC6FE-97F3-41C7-9E30-708583715F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E040D0-51C5-429B-810D-D631A5CC358F}"/>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8016694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1B98B-9F25-4753-87F4-21C342C687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FE7F2B-643F-4AA7-8370-5C7086D0DD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F431502-E7A0-4441-9B15-55FADD9B87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ACF0080-7AF8-4DE6-A3CE-AB2346117723}"/>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2DF5A7C9-68F1-41B3-BA02-DEBF535D5B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B80D7B-6012-4DBB-B317-CD9EDACE77F9}"/>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5647463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C7D00-370F-4C54-BEAC-D77B3AECF73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DB476DB-A6E1-4589-A1E6-035048CA42F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F4001A-5F3B-4FE4-A795-3B09BBE87F8D}"/>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B65069EB-DB39-4C97-ADCA-138C8EBBEB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197B06-CE87-453E-B691-BB6461B5E736}"/>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10178890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A9998C-3BDA-43D4-991D-6CFBD91CF1A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2BACDC-4851-4B7A-BF29-BB5E68CCF9E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CB8E39-8428-44EE-A046-3D48C86490C7}"/>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F50D6251-7B74-4A7B-AFD0-1C5F40120A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697550-297B-4E00-B3AF-38816412A588}"/>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7084329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BE2CB-927E-4ECA-A119-454FF0E510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6707F5D-E9A0-4285-87E8-812FCADD7B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9237A60-CFF9-48B6-BF9B-62E74659A666}"/>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A7162D13-DE68-4BBC-8E1A-ECA63044F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6C8BED-487E-4C3B-8BED-9E2E7E9EC17D}"/>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6783081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6ECE3-2645-4BAA-83C6-EBB973F59F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97DD8A-AA9D-4746-A3FC-42FE7D88E3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47E522-C4D4-430C-8FBF-B78769A26036}"/>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7C6E5A2E-6573-46A5-B5F8-BD6277988B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2D36C4-049A-43F2-9676-C014FB3FBEFE}"/>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13173870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59F1E-8E87-4F34-B677-536FEEAA36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5F156A6-87A3-405A-8D9F-277DE5D883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7935AD-1F2B-465A-9CF0-28AB9560A5FE}"/>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C06B5AB1-B975-4EEF-BD4F-8D741A7189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89726C-1C4E-4A4F-BA30-B686EE4B7152}"/>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3943244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B9C53-5568-4415-9448-FD8221E489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AC2FC3-E11E-469E-8BC2-B3572576C0F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6F7E116-F30B-473F-8FF7-C2672188ABA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29B51B2-51B4-445C-AB4F-4051967BFBEA}"/>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61A8085E-EBB6-4021-A018-FB6DE2F2BC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67048F-480D-42AD-84B1-0CB0294CE0D4}"/>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7867552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96703-5F20-430E-83DD-CF0FA7AC794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44B1176-7076-414F-82AF-A22A1DF27A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00AD683-91A7-4FA3-8CFE-B69A971D832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169756-36AA-4408-A350-6091FFEB04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01C064-CEA4-435E-8245-BAA43B40D4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4A1F18-02DD-4276-8F7F-4D18C444F91F}"/>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8" name="Footer Placeholder 7">
            <a:extLst>
              <a:ext uri="{FF2B5EF4-FFF2-40B4-BE49-F238E27FC236}">
                <a16:creationId xmlns:a16="http://schemas.microsoft.com/office/drawing/2014/main" id="{900FCCE2-D7E5-443D-B5D4-ABEF547F410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B2661B0-13BF-4412-BE11-DEA73A17F15F}"/>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14908175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96703-5F20-430E-83DD-CF0FA7AC794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44B1176-7076-414F-82AF-A22A1DF27A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00AD683-91A7-4FA3-8CFE-B69A971D832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169756-36AA-4408-A350-6091FFEB04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01C064-CEA4-435E-8245-BAA43B40D4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4A1F18-02DD-4276-8F7F-4D18C444F91F}"/>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8" name="Footer Placeholder 7">
            <a:extLst>
              <a:ext uri="{FF2B5EF4-FFF2-40B4-BE49-F238E27FC236}">
                <a16:creationId xmlns:a16="http://schemas.microsoft.com/office/drawing/2014/main" id="{900FCCE2-D7E5-443D-B5D4-ABEF547F410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B2661B0-13BF-4412-BE11-DEA73A17F15F}"/>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7812251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CAA0B-E352-47D4-995E-AF28E2C3580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B623314-E463-41E2-98F5-A1CEA54B8DB0}"/>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4" name="Footer Placeholder 3">
            <a:extLst>
              <a:ext uri="{FF2B5EF4-FFF2-40B4-BE49-F238E27FC236}">
                <a16:creationId xmlns:a16="http://schemas.microsoft.com/office/drawing/2014/main" id="{B69FFE04-4A73-4A75-BD6E-4AF3C8BAE6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64905C2-8630-457B-BC2D-CE20C208A4B0}"/>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0624952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1BCC47-EDBE-4B21-92F5-86F644322202}"/>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3" name="Footer Placeholder 2">
            <a:extLst>
              <a:ext uri="{FF2B5EF4-FFF2-40B4-BE49-F238E27FC236}">
                <a16:creationId xmlns:a16="http://schemas.microsoft.com/office/drawing/2014/main" id="{CCAF4F7A-8564-48FE-8B6C-6C609332E8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7E615B8-7F62-4C6C-BBA0-CF6868399387}"/>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6307598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DA5BA-4DCF-4620-857B-5720B1769D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CE06997-A92F-4C83-AB8D-417741D7704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DE82559-5E68-421E-8EF0-87BD6C1306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E955CB-9C1C-4BCE-A077-AB772D368B69}"/>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25FEC6FE-97F3-41C7-9E30-708583715F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E040D0-51C5-429B-810D-D631A5CC358F}"/>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4048860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1B98B-9F25-4753-87F4-21C342C687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FE7F2B-643F-4AA7-8370-5C7086D0DD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F431502-E7A0-4441-9B15-55FADD9B87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ACF0080-7AF8-4DE6-A3CE-AB2346117723}"/>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2DF5A7C9-68F1-41B3-BA02-DEBF535D5B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B80D7B-6012-4DBB-B317-CD9EDACE77F9}"/>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41272674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C7D00-370F-4C54-BEAC-D77B3AECF73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DB476DB-A6E1-4589-A1E6-035048CA42F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F4001A-5F3B-4FE4-A795-3B09BBE87F8D}"/>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B65069EB-DB39-4C97-ADCA-138C8EBBEB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197B06-CE87-453E-B691-BB6461B5E736}"/>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1930064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A9998C-3BDA-43D4-991D-6CFBD91CF1A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2BACDC-4851-4B7A-BF29-BB5E68CCF9E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CB8E39-8428-44EE-A046-3D48C86490C7}"/>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F50D6251-7B74-4A7B-AFD0-1C5F40120A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697550-297B-4E00-B3AF-38816412A588}"/>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205337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CAA0B-E352-47D4-995E-AF28E2C3580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B623314-E463-41E2-98F5-A1CEA54B8DB0}"/>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4" name="Footer Placeholder 3">
            <a:extLst>
              <a:ext uri="{FF2B5EF4-FFF2-40B4-BE49-F238E27FC236}">
                <a16:creationId xmlns:a16="http://schemas.microsoft.com/office/drawing/2014/main" id="{B69FFE04-4A73-4A75-BD6E-4AF3C8BAE6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64905C2-8630-457B-BC2D-CE20C208A4B0}"/>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543838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1BCC47-EDBE-4B21-92F5-86F644322202}"/>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3" name="Footer Placeholder 2">
            <a:extLst>
              <a:ext uri="{FF2B5EF4-FFF2-40B4-BE49-F238E27FC236}">
                <a16:creationId xmlns:a16="http://schemas.microsoft.com/office/drawing/2014/main" id="{CCAF4F7A-8564-48FE-8B6C-6C609332E8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7E615B8-7F62-4C6C-BBA0-CF6868399387}"/>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25612645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DA5BA-4DCF-4620-857B-5720B1769D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CE06997-A92F-4C83-AB8D-417741D7704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DE82559-5E68-421E-8EF0-87BD6C1306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E955CB-9C1C-4BCE-A077-AB772D368B69}"/>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25FEC6FE-97F3-41C7-9E30-708583715F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E040D0-51C5-429B-810D-D631A5CC358F}"/>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683610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1B98B-9F25-4753-87F4-21C342C687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FE7F2B-643F-4AA7-8370-5C7086D0DD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F431502-E7A0-4441-9B15-55FADD9B87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ACF0080-7AF8-4DE6-A3CE-AB2346117723}"/>
              </a:ext>
            </a:extLst>
          </p:cNvPr>
          <p:cNvSpPr>
            <a:spLocks noGrp="1"/>
          </p:cNvSpPr>
          <p:nvPr>
            <p:ph type="dt" sz="half" idx="10"/>
          </p:nvPr>
        </p:nvSpPr>
        <p:spPr/>
        <p:txBody>
          <a:bodyPr/>
          <a:lstStyle/>
          <a:p>
            <a:fld id="{E7D6AC30-AA56-4AB3-A866-C9468BDABC33}" type="datetimeFigureOut">
              <a:rPr lang="en-US" smtClean="0"/>
              <a:t>8/5/2021</a:t>
            </a:fld>
            <a:endParaRPr lang="en-US"/>
          </a:p>
        </p:txBody>
      </p:sp>
      <p:sp>
        <p:nvSpPr>
          <p:cNvPr id="6" name="Footer Placeholder 5">
            <a:extLst>
              <a:ext uri="{FF2B5EF4-FFF2-40B4-BE49-F238E27FC236}">
                <a16:creationId xmlns:a16="http://schemas.microsoft.com/office/drawing/2014/main" id="{2DF5A7C9-68F1-41B3-BA02-DEBF535D5B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B80D7B-6012-4DBB-B317-CD9EDACE77F9}"/>
              </a:ext>
            </a:extLst>
          </p:cNvPr>
          <p:cNvSpPr>
            <a:spLocks noGrp="1"/>
          </p:cNvSpPr>
          <p:nvPr>
            <p:ph type="sldNum" sz="quarter" idx="12"/>
          </p:nvPr>
        </p:nvSpPr>
        <p:spPr/>
        <p:txBody>
          <a:bodyPr/>
          <a:lstStyle/>
          <a:p>
            <a:fld id="{E24CDF40-ABD2-432E-AB3A-B1A31FCCDBA0}" type="slidenum">
              <a:rPr lang="en-US" smtClean="0"/>
              <a:t>‹#›</a:t>
            </a:fld>
            <a:endParaRPr lang="en-US"/>
          </a:p>
        </p:txBody>
      </p:sp>
    </p:spTree>
    <p:extLst>
      <p:ext uri="{BB962C8B-B14F-4D97-AF65-F5344CB8AC3E}">
        <p14:creationId xmlns:p14="http://schemas.microsoft.com/office/powerpoint/2010/main" val="30980054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1.e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ags" Target="../tags/tag3.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1.emf"/><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ags" Target="../tags/tag4.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image" Target="../media/image1.emf"/><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9210B78-E646-4F72-A11C-7D9EB35C9F30}"/>
              </a:ext>
            </a:extLst>
          </p:cNvPr>
          <p:cNvGraphicFramePr>
            <a:graphicFrameLocks noChangeAspect="1"/>
          </p:cNvGraphicFramePr>
          <p:nvPr userDrawn="1">
            <p:custDataLst>
              <p:tags r:id="rId13"/>
            </p:custDataLst>
            <p:extLst>
              <p:ext uri="{D42A27DB-BD31-4B8C-83A1-F6EECF244321}">
                <p14:modId xmlns:p14="http://schemas.microsoft.com/office/powerpoint/2010/main" val="2383946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8" name="Object 7" hidden="1">
                        <a:extLst>
                          <a:ext uri="{FF2B5EF4-FFF2-40B4-BE49-F238E27FC236}">
                            <a16:creationId xmlns:a16="http://schemas.microsoft.com/office/drawing/2014/main" id="{39210B78-E646-4F72-A11C-7D9EB35C9F3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38C4BB2-4A95-4E4F-9698-B1397883C5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09A3F2-C53C-41CA-8076-D83B5A5D11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135310-5DAF-461F-8684-B97F73D133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25C6FE24-00FE-4015-8546-DA1E145F94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43A640-4814-441A-9CA3-D424EBCB30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4CDF40-ABD2-432E-AB3A-B1A31FCCDBA0}" type="slidenum">
              <a:rPr lang="en-US" smtClean="0"/>
              <a:t>‹#›</a:t>
            </a:fld>
            <a:endParaRPr lang="en-US"/>
          </a:p>
        </p:txBody>
      </p:sp>
    </p:spTree>
    <p:extLst>
      <p:ext uri="{BB962C8B-B14F-4D97-AF65-F5344CB8AC3E}">
        <p14:creationId xmlns:p14="http://schemas.microsoft.com/office/powerpoint/2010/main" val="7646760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68">
          <p15:clr>
            <a:srgbClr val="F26B43"/>
          </p15:clr>
        </p15:guide>
        <p15:guide id="4" pos="3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38424A-D714-4C2A-90BC-9EF05B187A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AE8EBE6-B011-48C3-A993-7B4E0701F0C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71FA0A-42C3-4F56-BC8F-EEBA777F3B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6ABAB1-FC3A-4B4F-A259-91E14C8717D1}" type="datetime1">
              <a:rPr lang="en-US" smtClean="0"/>
              <a:t>8/5/2021</a:t>
            </a:fld>
            <a:endParaRPr lang="en-US"/>
          </a:p>
        </p:txBody>
      </p:sp>
      <p:sp>
        <p:nvSpPr>
          <p:cNvPr id="5" name="Footer Placeholder 4">
            <a:extLst>
              <a:ext uri="{FF2B5EF4-FFF2-40B4-BE49-F238E27FC236}">
                <a16:creationId xmlns:a16="http://schemas.microsoft.com/office/drawing/2014/main" id="{B8666033-1847-40E9-A28E-DA6E9CE71B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F5FE4A3-4093-4AC5-9C23-7E6454E138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D71B9F-3993-4306-BFF8-A983D4BB9097}" type="slidenum">
              <a:rPr lang="en-US" smtClean="0"/>
              <a:t>‹#›</a:t>
            </a:fld>
            <a:endParaRPr lang="en-US"/>
          </a:p>
        </p:txBody>
      </p:sp>
    </p:spTree>
    <p:extLst>
      <p:ext uri="{BB962C8B-B14F-4D97-AF65-F5344CB8AC3E}">
        <p14:creationId xmlns:p14="http://schemas.microsoft.com/office/powerpoint/2010/main" val="247684939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9210B78-E646-4F72-A11C-7D9EB35C9F30}"/>
              </a:ext>
            </a:extLst>
          </p:cNvPr>
          <p:cNvGraphicFramePr>
            <a:graphicFrameLocks noChangeAspect="1"/>
          </p:cNvGraphicFramePr>
          <p:nvPr userDrawn="1">
            <p:custDataLst>
              <p:tags r:id="rId13"/>
            </p:custDataLst>
            <p:extLst>
              <p:ext uri="{D42A27DB-BD31-4B8C-83A1-F6EECF244321}">
                <p14:modId xmlns:p14="http://schemas.microsoft.com/office/powerpoint/2010/main" val="2703928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8" name="Object 7" hidden="1">
                        <a:extLst>
                          <a:ext uri="{FF2B5EF4-FFF2-40B4-BE49-F238E27FC236}">
                            <a16:creationId xmlns:a16="http://schemas.microsoft.com/office/drawing/2014/main" id="{39210B78-E646-4F72-A11C-7D9EB35C9F3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38C4BB2-4A95-4E4F-9698-B1397883C5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09A3F2-C53C-41CA-8076-D83B5A5D11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135310-5DAF-461F-8684-B97F73D133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25C6FE24-00FE-4015-8546-DA1E145F94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43A640-4814-441A-9CA3-D424EBCB30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4CDF40-ABD2-432E-AB3A-B1A31FCCDBA0}" type="slidenum">
              <a:rPr lang="en-US" smtClean="0"/>
              <a:t>‹#›</a:t>
            </a:fld>
            <a:endParaRPr lang="en-US"/>
          </a:p>
        </p:txBody>
      </p:sp>
    </p:spTree>
    <p:extLst>
      <p:ext uri="{BB962C8B-B14F-4D97-AF65-F5344CB8AC3E}">
        <p14:creationId xmlns:p14="http://schemas.microsoft.com/office/powerpoint/2010/main" val="271606609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68">
          <p15:clr>
            <a:srgbClr val="F26B43"/>
          </p15:clr>
        </p15:guide>
        <p15:guide id="4" pos="3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9210B78-E646-4F72-A11C-7D9EB35C9F30}"/>
              </a:ext>
            </a:extLst>
          </p:cNvPr>
          <p:cNvGraphicFramePr>
            <a:graphicFrameLocks noChangeAspect="1"/>
          </p:cNvGraphicFramePr>
          <p:nvPr userDrawn="1">
            <p:custDataLst>
              <p:tags r:id="rId13"/>
            </p:custDataLst>
            <p:extLst>
              <p:ext uri="{D42A27DB-BD31-4B8C-83A1-F6EECF244321}">
                <p14:modId xmlns:p14="http://schemas.microsoft.com/office/powerpoint/2010/main" val="2618521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8" name="Object 7" hidden="1">
                        <a:extLst>
                          <a:ext uri="{FF2B5EF4-FFF2-40B4-BE49-F238E27FC236}">
                            <a16:creationId xmlns:a16="http://schemas.microsoft.com/office/drawing/2014/main" id="{39210B78-E646-4F72-A11C-7D9EB35C9F3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38C4BB2-4A95-4E4F-9698-B1397883C5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09A3F2-C53C-41CA-8076-D83B5A5D11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135310-5DAF-461F-8684-B97F73D133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25C6FE24-00FE-4015-8546-DA1E145F94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43A640-4814-441A-9CA3-D424EBCB30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4CDF40-ABD2-432E-AB3A-B1A31FCCDBA0}" type="slidenum">
              <a:rPr lang="en-US" smtClean="0"/>
              <a:t>‹#›</a:t>
            </a:fld>
            <a:endParaRPr lang="en-US"/>
          </a:p>
        </p:txBody>
      </p:sp>
    </p:spTree>
    <p:extLst>
      <p:ext uri="{BB962C8B-B14F-4D97-AF65-F5344CB8AC3E}">
        <p14:creationId xmlns:p14="http://schemas.microsoft.com/office/powerpoint/2010/main" val="309995397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68">
          <p15:clr>
            <a:srgbClr val="F26B43"/>
          </p15:clr>
        </p15:guide>
        <p15:guide id="4" pos="3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9210B78-E646-4F72-A11C-7D9EB35C9F30}"/>
              </a:ext>
            </a:extLst>
          </p:cNvPr>
          <p:cNvGraphicFramePr>
            <a:graphicFrameLocks noChangeAspect="1"/>
          </p:cNvGraphicFramePr>
          <p:nvPr userDrawn="1">
            <p:custDataLst>
              <p:tags r:id="rId13"/>
            </p:custDataLst>
            <p:extLst>
              <p:ext uri="{D42A27DB-BD31-4B8C-83A1-F6EECF244321}">
                <p14:modId xmlns:p14="http://schemas.microsoft.com/office/powerpoint/2010/main" val="3165631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8" name="Object 7" hidden="1">
                        <a:extLst>
                          <a:ext uri="{FF2B5EF4-FFF2-40B4-BE49-F238E27FC236}">
                            <a16:creationId xmlns:a16="http://schemas.microsoft.com/office/drawing/2014/main" id="{39210B78-E646-4F72-A11C-7D9EB35C9F3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38C4BB2-4A95-4E4F-9698-B1397883C5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09A3F2-C53C-41CA-8076-D83B5A5D11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135310-5DAF-461F-8684-B97F73D133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D6AC30-AA56-4AB3-A866-C9468BDABC33}" type="datetimeFigureOut">
              <a:rPr lang="en-US" smtClean="0"/>
              <a:t>8/5/2021</a:t>
            </a:fld>
            <a:endParaRPr lang="en-US"/>
          </a:p>
        </p:txBody>
      </p:sp>
      <p:sp>
        <p:nvSpPr>
          <p:cNvPr id="5" name="Footer Placeholder 4">
            <a:extLst>
              <a:ext uri="{FF2B5EF4-FFF2-40B4-BE49-F238E27FC236}">
                <a16:creationId xmlns:a16="http://schemas.microsoft.com/office/drawing/2014/main" id="{25C6FE24-00FE-4015-8546-DA1E145F94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B43A640-4814-441A-9CA3-D424EBCB30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4CDF40-ABD2-432E-AB3A-B1A31FCCDBA0}" type="slidenum">
              <a:rPr lang="en-US" smtClean="0"/>
              <a:t>‹#›</a:t>
            </a:fld>
            <a:endParaRPr lang="en-US"/>
          </a:p>
        </p:txBody>
      </p:sp>
    </p:spTree>
    <p:extLst>
      <p:ext uri="{BB962C8B-B14F-4D97-AF65-F5344CB8AC3E}">
        <p14:creationId xmlns:p14="http://schemas.microsoft.com/office/powerpoint/2010/main" val="336504707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68">
          <p15:clr>
            <a:srgbClr val="F26B43"/>
          </p15:clr>
        </p15:guide>
        <p15:guide id="4" pos="32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notesSlide" Target="../notesSlides/notesSlide1.xml"/><Relationship Id="rId7" Type="http://schemas.openxmlformats.org/officeDocument/2006/relationships/image" Target="../media/image3.svg"/><Relationship Id="rId12"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jpg"/><Relationship Id="rId4" Type="http://schemas.openxmlformats.org/officeDocument/2006/relationships/oleObject" Target="../embeddings/oleObject4.bin"/><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hyperlink" Target="https://drive.google.com/drive/folders/1Hfn0mpAozTuFT7BC10Q-0TcQInDwpVDJ?usp=sharing" TargetMode="External"/><Relationship Id="rId3" Type="http://schemas.openxmlformats.org/officeDocument/2006/relationships/notesSlide" Target="../notesSlides/notesSlide10.xml"/><Relationship Id="rId7" Type="http://schemas.openxmlformats.org/officeDocument/2006/relationships/hyperlink" Target="https://youtu.be/X13k4GPePLo" TargetMode="External"/><Relationship Id="rId2" Type="http://schemas.openxmlformats.org/officeDocument/2006/relationships/slideLayout" Target="../slideLayouts/slideLayout47.xml"/><Relationship Id="rId1" Type="http://schemas.openxmlformats.org/officeDocument/2006/relationships/tags" Target="../tags/tag13.xml"/><Relationship Id="rId6" Type="http://schemas.openxmlformats.org/officeDocument/2006/relationships/hyperlink" Target="https://youtu.be/za8qsJncbUw" TargetMode="Externa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image" Target="../media/image11.jpeg"/><Relationship Id="rId4" Type="http://schemas.openxmlformats.org/officeDocument/2006/relationships/image" Target="../media/image10.jpe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3.xml"/><Relationship Id="rId7" Type="http://schemas.openxmlformats.org/officeDocument/2006/relationships/image" Target="../media/image7.png"/><Relationship Id="rId2" Type="http://schemas.openxmlformats.org/officeDocument/2006/relationships/slideLayout" Target="../slideLayouts/slideLayout25.xml"/><Relationship Id="rId1" Type="http://schemas.openxmlformats.org/officeDocument/2006/relationships/tags" Target="../tags/tag6.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4.xml"/><Relationship Id="rId7" Type="http://schemas.openxmlformats.org/officeDocument/2006/relationships/image" Target="../media/image7.png"/><Relationship Id="rId2" Type="http://schemas.openxmlformats.org/officeDocument/2006/relationships/slideLayout" Target="../slideLayouts/slideLayout36.xml"/><Relationship Id="rId1" Type="http://schemas.openxmlformats.org/officeDocument/2006/relationships/tags" Target="../tags/tag7.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12.jp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5.xml"/><Relationship Id="rId7" Type="http://schemas.openxmlformats.org/officeDocument/2006/relationships/image" Target="../media/image7.png"/><Relationship Id="rId2" Type="http://schemas.openxmlformats.org/officeDocument/2006/relationships/slideLayout" Target="../slideLayouts/slideLayout47.xml"/><Relationship Id="rId1" Type="http://schemas.openxmlformats.org/officeDocument/2006/relationships/tags" Target="../tags/tag8.xml"/><Relationship Id="rId6" Type="http://schemas.openxmlformats.org/officeDocument/2006/relationships/image" Target="../media/image14.jpg"/><Relationship Id="rId11" Type="http://schemas.openxmlformats.org/officeDocument/2006/relationships/image" Target="../media/image17.pn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6.bin"/><Relationship Id="rId9" Type="http://schemas.openxmlformats.org/officeDocument/2006/relationships/image" Target="../media/image15.jpg"/></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6.xml"/><Relationship Id="rId7" Type="http://schemas.openxmlformats.org/officeDocument/2006/relationships/image" Target="../media/image7.png"/><Relationship Id="rId2" Type="http://schemas.openxmlformats.org/officeDocument/2006/relationships/slideLayout" Target="../slideLayouts/slideLayout47.xml"/><Relationship Id="rId1" Type="http://schemas.openxmlformats.org/officeDocument/2006/relationships/tags" Target="../tags/tag9.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18.jp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7.xml"/><Relationship Id="rId7" Type="http://schemas.openxmlformats.org/officeDocument/2006/relationships/image" Target="../media/image7.png"/><Relationship Id="rId2" Type="http://schemas.openxmlformats.org/officeDocument/2006/relationships/slideLayout" Target="../slideLayouts/slideLayout47.xml"/><Relationship Id="rId1" Type="http://schemas.openxmlformats.org/officeDocument/2006/relationships/tags" Target="../tags/tag10.xml"/><Relationship Id="rId6" Type="http://schemas.openxmlformats.org/officeDocument/2006/relationships/image" Target="../media/image14.jp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6.bin"/><Relationship Id="rId9" Type="http://schemas.openxmlformats.org/officeDocument/2006/relationships/image" Target="../media/image19.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7.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9.xml"/><Relationship Id="rId7" Type="http://schemas.openxmlformats.org/officeDocument/2006/relationships/image" Target="../media/image7.png"/><Relationship Id="rId2" Type="http://schemas.openxmlformats.org/officeDocument/2006/relationships/slideLayout" Target="../slideLayouts/slideLayout47.xml"/><Relationship Id="rId1" Type="http://schemas.openxmlformats.org/officeDocument/2006/relationships/tags" Target="../tags/tag12.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DF4D42-DF76-4E5E-95B2-3C38796B60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6EDF4D42-DF76-4E5E-95B2-3C38796B60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6" name="Picture 115">
            <a:extLst>
              <a:ext uri="{FF2B5EF4-FFF2-40B4-BE49-F238E27FC236}">
                <a16:creationId xmlns:a16="http://schemas.microsoft.com/office/drawing/2014/main" id="{8524EBF9-A132-45D2-BB0D-2C93248DF690}"/>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0" y="607083"/>
            <a:ext cx="12192000" cy="5305468"/>
          </a:xfrm>
          <a:prstGeom prst="rect">
            <a:avLst/>
          </a:prstGeom>
        </p:spPr>
      </p:pic>
      <p:sp>
        <p:nvSpPr>
          <p:cNvPr id="8" name="Rectangle 7">
            <a:extLst>
              <a:ext uri="{FF2B5EF4-FFF2-40B4-BE49-F238E27FC236}">
                <a16:creationId xmlns:a16="http://schemas.microsoft.com/office/drawing/2014/main" id="{E249C0BE-DA64-4358-845F-0DA8776B432B}"/>
              </a:ext>
            </a:extLst>
          </p:cNvPr>
          <p:cNvSpPr/>
          <p:nvPr/>
        </p:nvSpPr>
        <p:spPr>
          <a:xfrm>
            <a:off x="0" y="-19048"/>
            <a:ext cx="12192000" cy="5229181"/>
          </a:xfrm>
          <a:prstGeom prst="rect">
            <a:avLst/>
          </a:prstGeom>
          <a:gradFill flip="none" rotWithShape="1">
            <a:gsLst>
              <a:gs pos="0">
                <a:srgbClr val="2F2F37">
                  <a:alpha val="90000"/>
                </a:srgbClr>
              </a:gs>
              <a:gs pos="94000">
                <a:srgbClr val="1E1E24">
                  <a:alpha val="8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2" name="Group 111">
            <a:extLst>
              <a:ext uri="{FF2B5EF4-FFF2-40B4-BE49-F238E27FC236}">
                <a16:creationId xmlns:a16="http://schemas.microsoft.com/office/drawing/2014/main" id="{56671606-FB62-40E0-9407-FA69CDD5DCF8}"/>
              </a:ext>
            </a:extLst>
          </p:cNvPr>
          <p:cNvGrpSpPr/>
          <p:nvPr/>
        </p:nvGrpSpPr>
        <p:grpSpPr>
          <a:xfrm>
            <a:off x="5508812" y="607083"/>
            <a:ext cx="3931651" cy="5948634"/>
            <a:chOff x="1409978" y="1668850"/>
            <a:chExt cx="3931651" cy="5948634"/>
          </a:xfrm>
        </p:grpSpPr>
        <p:sp>
          <p:nvSpPr>
            <p:cNvPr id="95" name="Rectangle: Rounded Corners 94">
              <a:extLst>
                <a:ext uri="{FF2B5EF4-FFF2-40B4-BE49-F238E27FC236}">
                  <a16:creationId xmlns:a16="http://schemas.microsoft.com/office/drawing/2014/main" id="{D1DB6AC5-19C4-4B6D-900E-DA45101F077A}"/>
                </a:ext>
              </a:extLst>
            </p:cNvPr>
            <p:cNvSpPr/>
            <p:nvPr/>
          </p:nvSpPr>
          <p:spPr>
            <a:xfrm>
              <a:off x="2095062" y="1832186"/>
              <a:ext cx="2561481" cy="5429250"/>
            </a:xfrm>
            <a:prstGeom prst="roundRect">
              <a:avLst>
                <a:gd name="adj" fmla="val 7098"/>
              </a:avLst>
            </a:prstGeom>
            <a:blipFill dpi="0" rotWithShape="1">
              <a:blip r:embed="rId8">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7" name="Picture 56">
              <a:extLst>
                <a:ext uri="{FF2B5EF4-FFF2-40B4-BE49-F238E27FC236}">
                  <a16:creationId xmlns:a16="http://schemas.microsoft.com/office/drawing/2014/main" id="{4C480F6C-BECA-4763-A6F0-2DEBE4D1F40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409978" y="1668850"/>
              <a:ext cx="3931651" cy="5948634"/>
            </a:xfrm>
            <a:prstGeom prst="rect">
              <a:avLst/>
            </a:prstGeom>
          </p:spPr>
        </p:pic>
      </p:grpSp>
      <p:sp>
        <p:nvSpPr>
          <p:cNvPr id="117" name="Title 3">
            <a:extLst>
              <a:ext uri="{FF2B5EF4-FFF2-40B4-BE49-F238E27FC236}">
                <a16:creationId xmlns:a16="http://schemas.microsoft.com/office/drawing/2014/main" id="{9B557F9A-0C3C-49F0-9227-71033CB7EA79}"/>
              </a:ext>
            </a:extLst>
          </p:cNvPr>
          <p:cNvSpPr>
            <a:spLocks noGrp="1"/>
          </p:cNvSpPr>
          <p:nvPr>
            <p:ph type="ctrTitle"/>
          </p:nvPr>
        </p:nvSpPr>
        <p:spPr>
          <a:xfrm>
            <a:off x="389038" y="1946819"/>
            <a:ext cx="6100904" cy="2877961"/>
          </a:xfrm>
        </p:spPr>
        <p:txBody>
          <a:bodyPr vert="horz">
            <a:normAutofit fontScale="90000"/>
          </a:bodyPr>
          <a:lstStyle/>
          <a:p>
            <a:pPr algn="l"/>
            <a:r>
              <a:rPr lang="en-US" sz="3400" dirty="0">
                <a:solidFill>
                  <a:schemeClr val="bg1"/>
                </a:solidFill>
                <a:latin typeface="Segoe UI" panose="020B0502040204020203" pitchFamily="34" charset="0"/>
                <a:cs typeface="Segoe UI" panose="020B0502040204020203" pitchFamily="34" charset="0"/>
              </a:rPr>
              <a:t>Chhatra Vishwakarma Awards 2020</a:t>
            </a:r>
            <a:br>
              <a:rPr lang="en-US" sz="3400" dirty="0">
                <a:solidFill>
                  <a:schemeClr val="bg1"/>
                </a:solidFill>
                <a:latin typeface="Segoe UI" panose="020B0502040204020203" pitchFamily="34" charset="0"/>
                <a:cs typeface="Segoe UI" panose="020B0502040204020203" pitchFamily="34" charset="0"/>
              </a:rPr>
            </a:br>
            <a:br>
              <a:rPr lang="en-US" sz="3400" dirty="0">
                <a:solidFill>
                  <a:schemeClr val="bg1"/>
                </a:solidFill>
                <a:latin typeface="Segoe UI" panose="020B0502040204020203" pitchFamily="34" charset="0"/>
                <a:cs typeface="Segoe UI" panose="020B0502040204020203" pitchFamily="34" charset="0"/>
              </a:rPr>
            </a:br>
            <a:r>
              <a:rPr lang="en-US" sz="3400" dirty="0">
                <a:solidFill>
                  <a:schemeClr val="bg1"/>
                </a:solidFill>
                <a:latin typeface="Segoe UI" panose="020B0502040204020203" pitchFamily="34" charset="0"/>
                <a:cs typeface="Segoe UI" panose="020B0502040204020203" pitchFamily="34" charset="0"/>
              </a:rPr>
              <a:t>Team: Lazarus</a:t>
            </a:r>
            <a:br>
              <a:rPr lang="en-US" sz="3400" dirty="0">
                <a:solidFill>
                  <a:schemeClr val="bg1"/>
                </a:solidFill>
                <a:latin typeface="Segoe UI" panose="020B0502040204020203" pitchFamily="34" charset="0"/>
                <a:cs typeface="Segoe UI" panose="020B0502040204020203" pitchFamily="34" charset="0"/>
              </a:rPr>
            </a:br>
            <a:r>
              <a:rPr lang="en-US" sz="3400" dirty="0">
                <a:solidFill>
                  <a:schemeClr val="bg1"/>
                </a:solidFill>
                <a:latin typeface="Segoe UI" panose="020B0502040204020203" pitchFamily="34" charset="0"/>
                <a:cs typeface="Segoe UI" panose="020B0502040204020203" pitchFamily="34" charset="0"/>
              </a:rPr>
              <a:t>Application Id: VISH202011475</a:t>
            </a:r>
            <a:br>
              <a:rPr lang="en-US" sz="3400" dirty="0">
                <a:solidFill>
                  <a:schemeClr val="bg1"/>
                </a:solidFill>
                <a:latin typeface="Segoe UI" panose="020B0502040204020203" pitchFamily="34" charset="0"/>
                <a:cs typeface="Segoe UI" panose="020B0502040204020203" pitchFamily="34" charset="0"/>
              </a:rPr>
            </a:br>
            <a:endParaRPr lang="en-US" sz="3400" dirty="0">
              <a:solidFill>
                <a:schemeClr val="bg1"/>
              </a:solidFill>
              <a:latin typeface="Segoe UI" panose="020B0502040204020203" pitchFamily="34" charset="0"/>
              <a:cs typeface="Segoe UI" panose="020B0502040204020203" pitchFamily="34" charset="0"/>
            </a:endParaRPr>
          </a:p>
        </p:txBody>
      </p:sp>
      <p:sp>
        <p:nvSpPr>
          <p:cNvPr id="2" name="Rectangle: Rounded Corners 1">
            <a:extLst>
              <a:ext uri="{FF2B5EF4-FFF2-40B4-BE49-F238E27FC236}">
                <a16:creationId xmlns:a16="http://schemas.microsoft.com/office/drawing/2014/main" id="{E5B7EF7D-7D30-4D3C-8FC5-2F227F41496B}"/>
              </a:ext>
            </a:extLst>
          </p:cNvPr>
          <p:cNvSpPr/>
          <p:nvPr/>
        </p:nvSpPr>
        <p:spPr>
          <a:xfrm>
            <a:off x="571500" y="5229182"/>
            <a:ext cx="2619375" cy="66432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ject: Lazarus</a:t>
            </a:r>
            <a:endParaRPr lang="en-IN" dirty="0"/>
          </a:p>
        </p:txBody>
      </p:sp>
      <p:grpSp>
        <p:nvGrpSpPr>
          <p:cNvPr id="6" name="Group 5">
            <a:extLst>
              <a:ext uri="{FF2B5EF4-FFF2-40B4-BE49-F238E27FC236}">
                <a16:creationId xmlns:a16="http://schemas.microsoft.com/office/drawing/2014/main" id="{34F24BB8-6A3D-427F-8B10-5B957992B331}"/>
              </a:ext>
            </a:extLst>
          </p:cNvPr>
          <p:cNvGrpSpPr/>
          <p:nvPr/>
        </p:nvGrpSpPr>
        <p:grpSpPr>
          <a:xfrm>
            <a:off x="8004850" y="607083"/>
            <a:ext cx="3926164" cy="5950212"/>
            <a:chOff x="6736605" y="3882894"/>
            <a:chExt cx="3926164" cy="5950212"/>
          </a:xfrm>
        </p:grpSpPr>
        <p:pic>
          <p:nvPicPr>
            <p:cNvPr id="10" name="Picture 9">
              <a:extLst>
                <a:ext uri="{FF2B5EF4-FFF2-40B4-BE49-F238E27FC236}">
                  <a16:creationId xmlns:a16="http://schemas.microsoft.com/office/drawing/2014/main" id="{6FA8BE54-B3B9-493A-83F8-DDD10848DD9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21689" y="4046231"/>
              <a:ext cx="2561481" cy="5429249"/>
            </a:xfrm>
            <a:prstGeom prst="roundRect">
              <a:avLst>
                <a:gd name="adj" fmla="val 8562"/>
              </a:avLst>
            </a:prstGeom>
            <a:ln>
              <a:noFill/>
            </a:ln>
          </p:spPr>
        </p:pic>
        <p:pic>
          <p:nvPicPr>
            <p:cNvPr id="15" name="Picture 14">
              <a:extLst>
                <a:ext uri="{FF2B5EF4-FFF2-40B4-BE49-F238E27FC236}">
                  <a16:creationId xmlns:a16="http://schemas.microsoft.com/office/drawing/2014/main" id="{2FCAF5DD-0425-434A-B979-DA106AAAEF4C}"/>
                </a:ext>
              </a:extLst>
            </p:cNvPr>
            <p:cNvPicPr>
              <a:picLocks noChangeAspect="1"/>
            </p:cNvPicPr>
            <p:nvPr/>
          </p:nvPicPr>
          <p:blipFill>
            <a:blip r:embed="rId11"/>
            <a:stretch>
              <a:fillRect/>
            </a:stretch>
          </p:blipFill>
          <p:spPr>
            <a:xfrm>
              <a:off x="6736605" y="3882894"/>
              <a:ext cx="3926164" cy="5950212"/>
            </a:xfrm>
            <a:prstGeom prst="rect">
              <a:avLst/>
            </a:prstGeom>
            <a:blipFill>
              <a:blip r:embed="rId12"/>
              <a:stretch>
                <a:fillRect/>
              </a:stretch>
            </a:blipFill>
          </p:spPr>
        </p:pic>
      </p:grpSp>
    </p:spTree>
    <p:extLst>
      <p:ext uri="{BB962C8B-B14F-4D97-AF65-F5344CB8AC3E}">
        <p14:creationId xmlns:p14="http://schemas.microsoft.com/office/powerpoint/2010/main" val="16696096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055881-0987-4E8D-9868-57D3568DCC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F9055881-0987-4E8D-9868-57D3568DCC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E42EB6E2-C9EB-45B8-BED6-A375365933E9}"/>
              </a:ext>
            </a:extLst>
          </p:cNvPr>
          <p:cNvSpPr/>
          <p:nvPr/>
        </p:nvSpPr>
        <p:spPr>
          <a:xfrm>
            <a:off x="0" y="0"/>
            <a:ext cx="12192000" cy="5214030"/>
          </a:xfrm>
          <a:prstGeom prst="rect">
            <a:avLst/>
          </a:prstGeom>
          <a:gradFill flip="none" rotWithShape="1">
            <a:gsLst>
              <a:gs pos="0">
                <a:srgbClr val="2F2F37">
                  <a:alpha val="90000"/>
                </a:srgbClr>
              </a:gs>
              <a:gs pos="94000">
                <a:srgbClr val="1E1E24">
                  <a:alpha val="8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3">
            <a:extLst>
              <a:ext uri="{FF2B5EF4-FFF2-40B4-BE49-F238E27FC236}">
                <a16:creationId xmlns:a16="http://schemas.microsoft.com/office/drawing/2014/main" id="{A671BDED-9331-4977-AE2A-348200944040}"/>
              </a:ext>
            </a:extLst>
          </p:cNvPr>
          <p:cNvSpPr txBox="1">
            <a:spLocks/>
          </p:cNvSpPr>
          <p:nvPr/>
        </p:nvSpPr>
        <p:spPr>
          <a:xfrm>
            <a:off x="6243800" y="1939450"/>
            <a:ext cx="5452900" cy="252817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9600" dirty="0">
                <a:solidFill>
                  <a:schemeClr val="bg1"/>
                </a:solidFill>
                <a:latin typeface="Segoe UI" panose="020B0502040204020203" pitchFamily="34" charset="0"/>
                <a:cs typeface="Segoe UI" panose="020B0502040204020203" pitchFamily="34" charset="0"/>
              </a:rPr>
              <a:t>THANK</a:t>
            </a:r>
          </a:p>
          <a:p>
            <a:pPr algn="r"/>
            <a:r>
              <a:rPr lang="en-US" sz="9600" b="1" dirty="0">
                <a:solidFill>
                  <a:schemeClr val="bg1"/>
                </a:solidFill>
                <a:latin typeface="Segoe UI" panose="020B0502040204020203" pitchFamily="34" charset="0"/>
                <a:cs typeface="Segoe UI" panose="020B0502040204020203" pitchFamily="34" charset="0"/>
              </a:rPr>
              <a:t>YOU</a:t>
            </a:r>
          </a:p>
        </p:txBody>
      </p:sp>
      <p:sp>
        <p:nvSpPr>
          <p:cNvPr id="7" name="Rectangle: Rounded Corners 6">
            <a:extLst>
              <a:ext uri="{FF2B5EF4-FFF2-40B4-BE49-F238E27FC236}">
                <a16:creationId xmlns:a16="http://schemas.microsoft.com/office/drawing/2014/main" id="{C9AAF079-DF5B-4FC9-804F-C0C32BD9014C}"/>
              </a:ext>
            </a:extLst>
          </p:cNvPr>
          <p:cNvSpPr/>
          <p:nvPr/>
        </p:nvSpPr>
        <p:spPr>
          <a:xfrm>
            <a:off x="9088438" y="4918550"/>
            <a:ext cx="2608262" cy="664320"/>
          </a:xfrm>
          <a:prstGeom prst="roundRect">
            <a:avLst>
              <a:gd name="adj" fmla="val 50000"/>
            </a:avLst>
          </a:prstGeom>
          <a:gradFill>
            <a:gsLst>
              <a:gs pos="0">
                <a:srgbClr val="4757B8"/>
              </a:gs>
              <a:gs pos="94000">
                <a:srgbClr val="7983D7"/>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Lazarus</a:t>
            </a:r>
          </a:p>
        </p:txBody>
      </p:sp>
      <p:sp>
        <p:nvSpPr>
          <p:cNvPr id="74" name="Rectangle: Rounded Corners 73">
            <a:extLst>
              <a:ext uri="{FF2B5EF4-FFF2-40B4-BE49-F238E27FC236}">
                <a16:creationId xmlns:a16="http://schemas.microsoft.com/office/drawing/2014/main" id="{162E46A4-AA51-455B-81BE-DE54ADBF242B}"/>
              </a:ext>
            </a:extLst>
          </p:cNvPr>
          <p:cNvSpPr/>
          <p:nvPr/>
        </p:nvSpPr>
        <p:spPr>
          <a:xfrm>
            <a:off x="495300" y="2104008"/>
            <a:ext cx="5600700" cy="2363617"/>
          </a:xfrm>
          <a:prstGeom prst="roundRect">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fontAlgn="base">
              <a:spcBef>
                <a:spcPts val="0"/>
              </a:spcBef>
              <a:spcAft>
                <a:spcPts val="0"/>
              </a:spcAft>
            </a:pPr>
            <a:r>
              <a:rPr lang="en-US" sz="1800" b="0" i="0" u="none" strike="noStrike" dirty="0">
                <a:solidFill>
                  <a:srgbClr val="000000"/>
                </a:solidFill>
                <a:effectLst/>
                <a:latin typeface="Segoe UI" panose="020B0502040204020203" pitchFamily="34" charset="0"/>
                <a:cs typeface="Segoe UI" panose="020B0502040204020203" pitchFamily="34" charset="0"/>
              </a:rPr>
              <a:t>Video link for short demo: </a:t>
            </a:r>
            <a:r>
              <a:rPr lang="en-US" sz="1800" b="0" i="0" u="none" strike="noStrike" dirty="0">
                <a:solidFill>
                  <a:srgbClr val="000000"/>
                </a:solidFill>
                <a:effectLst/>
                <a:latin typeface="Segoe UI" panose="020B0502040204020203" pitchFamily="34" charset="0"/>
                <a:cs typeface="Segoe UI" panose="020B0502040204020203" pitchFamily="34" charset="0"/>
                <a:hlinkClick r:id="rId6"/>
              </a:rPr>
              <a:t>https://youtu.be/za8qsJncbUw</a:t>
            </a:r>
            <a:endParaRPr lang="en-US" sz="1800" b="0" i="0" u="none" strike="noStrike" dirty="0">
              <a:solidFill>
                <a:srgbClr val="000000"/>
              </a:solidFill>
              <a:effectLst/>
              <a:latin typeface="Segoe UI" panose="020B0502040204020203" pitchFamily="34" charset="0"/>
              <a:cs typeface="Segoe UI" panose="020B0502040204020203" pitchFamily="34" charset="0"/>
            </a:endParaRPr>
          </a:p>
          <a:p>
            <a:pPr rtl="0" fontAlgn="base">
              <a:spcBef>
                <a:spcPts val="0"/>
              </a:spcBef>
              <a:spcAft>
                <a:spcPts val="0"/>
              </a:spcAft>
            </a:pPr>
            <a:r>
              <a:rPr lang="en-US" sz="1800" b="0" i="0" u="none" strike="noStrike" dirty="0">
                <a:solidFill>
                  <a:srgbClr val="000000"/>
                </a:solidFill>
                <a:effectLst/>
                <a:latin typeface="Segoe UI" panose="020B0502040204020203" pitchFamily="34" charset="0"/>
                <a:cs typeface="Segoe UI" panose="020B0502040204020203" pitchFamily="34" charset="0"/>
              </a:rPr>
              <a:t>Long demo link: </a:t>
            </a:r>
            <a:r>
              <a:rPr lang="en-US" sz="1800" b="0" i="0" u="none" strike="noStrike" dirty="0">
                <a:solidFill>
                  <a:srgbClr val="000000"/>
                </a:solidFill>
                <a:effectLst/>
                <a:latin typeface="Segoe UI" panose="020B0502040204020203" pitchFamily="34" charset="0"/>
                <a:cs typeface="Segoe UI" panose="020B0502040204020203" pitchFamily="34" charset="0"/>
                <a:hlinkClick r:id="rId7"/>
              </a:rPr>
              <a:t>https://youtu.be/X13k4GPePLo</a:t>
            </a:r>
            <a:endParaRPr lang="en-US" sz="1800" b="0" i="0" u="none" strike="noStrike" dirty="0">
              <a:solidFill>
                <a:srgbClr val="000000"/>
              </a:solidFill>
              <a:effectLst/>
              <a:latin typeface="Segoe UI" panose="020B0502040204020203" pitchFamily="34" charset="0"/>
              <a:cs typeface="Segoe UI" panose="020B0502040204020203" pitchFamily="34" charset="0"/>
            </a:endParaRPr>
          </a:p>
          <a:p>
            <a:pPr rtl="0" fontAlgn="base">
              <a:spcBef>
                <a:spcPts val="0"/>
              </a:spcBef>
              <a:spcAft>
                <a:spcPts val="0"/>
              </a:spcAft>
            </a:pPr>
            <a:r>
              <a:rPr lang="en-US" sz="1800" b="0" i="0" u="none" strike="noStrike" dirty="0">
                <a:solidFill>
                  <a:srgbClr val="000000"/>
                </a:solidFill>
                <a:effectLst/>
                <a:latin typeface="Segoe UI" panose="020B0502040204020203" pitchFamily="34" charset="0"/>
                <a:cs typeface="Segoe UI" panose="020B0502040204020203" pitchFamily="34" charset="0"/>
              </a:rPr>
              <a:t>Google drive link for full resolution pictures: </a:t>
            </a:r>
            <a:r>
              <a:rPr lang="en-US" sz="1800" b="0" i="0" u="none" strike="noStrike" dirty="0">
                <a:solidFill>
                  <a:srgbClr val="000000"/>
                </a:solidFill>
                <a:effectLst/>
                <a:latin typeface="Segoe UI" panose="020B0502040204020203" pitchFamily="34" charset="0"/>
                <a:cs typeface="Segoe UI" panose="020B0502040204020203" pitchFamily="34" charset="0"/>
                <a:hlinkClick r:id="rId8"/>
              </a:rPr>
              <a:t>https://drive.google.com/drive/folders/1Hfn0mpAozTuFT7BC10Q-0TcQInDwpVDJ?usp=sharing</a:t>
            </a:r>
            <a:endParaRPr lang="en-US" sz="1800" b="0" i="0" u="none" strike="noStrike" dirty="0">
              <a:solidFill>
                <a:srgbClr val="000000"/>
              </a:solidFill>
              <a:effectLst/>
              <a:latin typeface="Segoe UI" panose="020B0502040204020203" pitchFamily="34" charset="0"/>
              <a:cs typeface="Segoe UI" panose="020B0502040204020203" pitchFamily="34" charset="0"/>
            </a:endParaRPr>
          </a:p>
          <a:p>
            <a:pPr rtl="0" fontAlgn="base">
              <a:spcBef>
                <a:spcPts val="0"/>
              </a:spcBef>
              <a:spcAft>
                <a:spcPts val="0"/>
              </a:spcAft>
            </a:pPr>
            <a:endParaRPr lang="en-US" dirty="0">
              <a:solidFill>
                <a:srgbClr val="000000"/>
              </a:solidFill>
              <a:latin typeface="Segoe UI" panose="020B0502040204020203" pitchFamily="34" charset="0"/>
              <a:cs typeface="Segoe UI" panose="020B0502040204020203" pitchFamily="34" charset="0"/>
            </a:endParaRPr>
          </a:p>
          <a:p>
            <a:pPr rtl="0" fontAlgn="base">
              <a:spcBef>
                <a:spcPts val="0"/>
              </a:spcBef>
              <a:spcAft>
                <a:spcPts val="0"/>
              </a:spcAft>
            </a:pPr>
            <a:endParaRPr lang="en-US" sz="1800" b="0" i="0" u="none" strike="noStrike" dirty="0">
              <a:solidFill>
                <a:srgbClr val="000000"/>
              </a:solidFill>
              <a:effectLs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41846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70" name="Group 69">
            <a:extLst>
              <a:ext uri="{FF2B5EF4-FFF2-40B4-BE49-F238E27FC236}">
                <a16:creationId xmlns:a16="http://schemas.microsoft.com/office/drawing/2014/main" id="{48407126-769B-4161-999F-1D817F20D513}"/>
              </a:ext>
            </a:extLst>
          </p:cNvPr>
          <p:cNvGrpSpPr/>
          <p:nvPr/>
        </p:nvGrpSpPr>
        <p:grpSpPr>
          <a:xfrm>
            <a:off x="3669199" y="859919"/>
            <a:ext cx="8216369" cy="2587814"/>
            <a:chOff x="3914775" y="1815183"/>
            <a:chExt cx="7781925" cy="1438532"/>
          </a:xfrm>
        </p:grpSpPr>
        <p:sp>
          <p:nvSpPr>
            <p:cNvPr id="64" name="Rectangle: Rounded Corners 63">
              <a:extLst>
                <a:ext uri="{FF2B5EF4-FFF2-40B4-BE49-F238E27FC236}">
                  <a16:creationId xmlns:a16="http://schemas.microsoft.com/office/drawing/2014/main" id="{21617991-5C16-41F0-8AAF-991C0BEBAE61}"/>
                </a:ext>
              </a:extLst>
            </p:cNvPr>
            <p:cNvSpPr/>
            <p:nvPr/>
          </p:nvSpPr>
          <p:spPr>
            <a:xfrm>
              <a:off x="3914775" y="1838325"/>
              <a:ext cx="7781925" cy="1371600"/>
            </a:xfrm>
            <a:prstGeom prst="roundRect">
              <a:avLst/>
            </a:prstGeom>
            <a:solidFill>
              <a:srgbClr val="F15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0524C9DB-5079-4083-A5FA-6E105FA8FA63}"/>
                </a:ext>
              </a:extLst>
            </p:cNvPr>
            <p:cNvSpPr/>
            <p:nvPr/>
          </p:nvSpPr>
          <p:spPr>
            <a:xfrm>
              <a:off x="5895863" y="1815183"/>
              <a:ext cx="5546880" cy="1438532"/>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Proximity trackers of today like Aarogya Setu </a:t>
              </a:r>
              <a:r>
                <a:rPr lang="en-US" sz="1400" dirty="0">
                  <a:solidFill>
                    <a:prstClr val="white"/>
                  </a:solidFill>
                  <a:latin typeface="Calibri Light" panose="020F0302020204030204"/>
                </a:rPr>
                <a:t>(</a:t>
              </a: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India) or TraceTogether</a:t>
              </a:r>
              <a:r>
                <a:rPr lang="en-US" sz="1400" dirty="0">
                  <a:solidFill>
                    <a:prstClr val="white"/>
                  </a:solidFill>
                  <a:latin typeface="Calibri Light" panose="020F0302020204030204"/>
                </a:rPr>
                <a:t> </a:t>
              </a: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Singapore) need each of its users to have a Bluetooth Low Energy (BLE) enabled smartphone (for example an Android phone </a:t>
              </a:r>
              <a:r>
                <a:rPr lang="en-US" sz="1400" dirty="0">
                  <a:solidFill>
                    <a:prstClr val="white"/>
                  </a:solidFill>
                  <a:latin typeface="Calibri Light" panose="020F0302020204030204"/>
                </a:rPr>
                <a:t>with </a:t>
              </a: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OS version of KitKat or greater) and the technique is effective for contact tracing only when large chunks of the population are using this smartphone application. But that cannot be the case for countries/regions with large populations and considerable proportions of low income groups. India with a population of almost 1,380,004,385 has only over a 100 million downloads for Aarogya</a:t>
              </a:r>
              <a:r>
                <a:rPr lang="en-US" sz="1400" dirty="0">
                  <a:solidFill>
                    <a:prstClr val="white"/>
                  </a:solidFill>
                  <a:latin typeface="Calibri Light" panose="020F0302020204030204"/>
                </a:rPr>
                <a:t> </a:t>
              </a: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Setu ap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Moreover, such BLE proximity trackers are region specific, restricting contact tracing for an individual within borders, which can prove to be fatal for international flyers.</a:t>
              </a:r>
              <a:endParaRPr kumimoji="0" lang="en-ID" sz="14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6" name="Rectangle 65">
              <a:extLst>
                <a:ext uri="{FF2B5EF4-FFF2-40B4-BE49-F238E27FC236}">
                  <a16:creationId xmlns:a16="http://schemas.microsoft.com/office/drawing/2014/main" id="{725D2436-862F-4D4A-8819-17899C44C235}"/>
                </a:ext>
              </a:extLst>
            </p:cNvPr>
            <p:cNvSpPr/>
            <p:nvPr/>
          </p:nvSpPr>
          <p:spPr>
            <a:xfrm>
              <a:off x="4045940" y="2238499"/>
              <a:ext cx="1595965" cy="554840"/>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D" b="1" dirty="0">
                  <a:solidFill>
                    <a:prstClr val="white"/>
                  </a:solidFill>
                  <a:latin typeface="Century Gothic" panose="020B0502020202020204" pitchFamily="34" charset="0"/>
                </a:rPr>
                <a:t>Limited reach of contact tracing apps</a:t>
              </a:r>
              <a:endParaRPr kumimoji="0" lang="en-ID"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68" name="Straight Connector 67">
              <a:extLst>
                <a:ext uri="{FF2B5EF4-FFF2-40B4-BE49-F238E27FC236}">
                  <a16:creationId xmlns:a16="http://schemas.microsoft.com/office/drawing/2014/main" id="{AB2B7811-FC1A-4888-A145-B67EE38154CA}"/>
                </a:ext>
              </a:extLst>
            </p:cNvPr>
            <p:cNvCxnSpPr/>
            <p:nvPr/>
          </p:nvCxnSpPr>
          <p:spPr>
            <a:xfrm>
              <a:off x="5705475" y="2026188"/>
              <a:ext cx="0" cy="10165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CE8816A-C96E-4ED1-9A08-BA649FB3A2C8}"/>
                </a:ext>
              </a:extLst>
            </p:cNvPr>
            <p:cNvCxnSpPr/>
            <p:nvPr/>
          </p:nvCxnSpPr>
          <p:spPr>
            <a:xfrm>
              <a:off x="5705475" y="2387223"/>
              <a:ext cx="0" cy="294450"/>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8A6648AA-9A46-49F7-8AD9-640D75CA1C4F}"/>
              </a:ext>
            </a:extLst>
          </p:cNvPr>
          <p:cNvGrpSpPr/>
          <p:nvPr/>
        </p:nvGrpSpPr>
        <p:grpSpPr>
          <a:xfrm>
            <a:off x="3675862" y="3480989"/>
            <a:ext cx="8182454" cy="1371600"/>
            <a:chOff x="3914775" y="1838325"/>
            <a:chExt cx="7781925" cy="1371600"/>
          </a:xfrm>
        </p:grpSpPr>
        <p:sp>
          <p:nvSpPr>
            <p:cNvPr id="72" name="Rectangle: Rounded Corners 71">
              <a:extLst>
                <a:ext uri="{FF2B5EF4-FFF2-40B4-BE49-F238E27FC236}">
                  <a16:creationId xmlns:a16="http://schemas.microsoft.com/office/drawing/2014/main" id="{B19C3514-1782-40C1-AC24-F8DC921F0FAD}"/>
                </a:ext>
              </a:extLst>
            </p:cNvPr>
            <p:cNvSpPr/>
            <p:nvPr/>
          </p:nvSpPr>
          <p:spPr>
            <a:xfrm>
              <a:off x="3914775" y="1838325"/>
              <a:ext cx="7781925" cy="1371600"/>
            </a:xfrm>
            <a:prstGeom prst="roundRect">
              <a:avLst/>
            </a:prstGeom>
            <a:solidFill>
              <a:srgbClr val="F15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3FE1BE30-9363-4C50-8089-AD798818A1E6}"/>
                </a:ext>
              </a:extLst>
            </p:cNvPr>
            <p:cNvSpPr/>
            <p:nvPr/>
          </p:nvSpPr>
          <p:spPr>
            <a:xfrm>
              <a:off x="5895863" y="1888117"/>
              <a:ext cx="5546880" cy="1292662"/>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If a person tests positive for Covid19 he/she must be interviewed by healthcare workers to trace contacts which may have been missed by tracking apps (since not everybody is using app and not all users are keeping app active always). But reproducing all interactions accurately from memory is not possible and also healthcare workers have to repeatedly come in close contact with patients. None of the contact tracing apps provide any solution in such a case.</a:t>
              </a:r>
              <a:endParaRPr kumimoji="0" lang="en-ID" sz="14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74" name="Rectangle 73">
              <a:extLst>
                <a:ext uri="{FF2B5EF4-FFF2-40B4-BE49-F238E27FC236}">
                  <a16:creationId xmlns:a16="http://schemas.microsoft.com/office/drawing/2014/main" id="{EAC22048-C3E6-4582-A967-CBB6FD2C2D26}"/>
                </a:ext>
              </a:extLst>
            </p:cNvPr>
            <p:cNvSpPr/>
            <p:nvPr/>
          </p:nvSpPr>
          <p:spPr>
            <a:xfrm>
              <a:off x="4051197" y="2226672"/>
              <a:ext cx="1571815" cy="615553"/>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nefficient alternative</a:t>
              </a:r>
            </a:p>
          </p:txBody>
        </p:sp>
        <p:cxnSp>
          <p:nvCxnSpPr>
            <p:cNvPr id="75" name="Straight Connector 74">
              <a:extLst>
                <a:ext uri="{FF2B5EF4-FFF2-40B4-BE49-F238E27FC236}">
                  <a16:creationId xmlns:a16="http://schemas.microsoft.com/office/drawing/2014/main" id="{087293FA-41F7-4BED-905E-39EA880D1A13}"/>
                </a:ext>
              </a:extLst>
            </p:cNvPr>
            <p:cNvCxnSpPr/>
            <p:nvPr/>
          </p:nvCxnSpPr>
          <p:spPr>
            <a:xfrm>
              <a:off x="5705475" y="2026188"/>
              <a:ext cx="0" cy="10165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64152F4-D8BE-47D9-B282-1B488D37C297}"/>
                </a:ext>
              </a:extLst>
            </p:cNvPr>
            <p:cNvCxnSpPr/>
            <p:nvPr/>
          </p:nvCxnSpPr>
          <p:spPr>
            <a:xfrm>
              <a:off x="5705475" y="2387223"/>
              <a:ext cx="0" cy="294450"/>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2F909510-F291-4E4A-A8FD-48BC9451DB8E}"/>
              </a:ext>
            </a:extLst>
          </p:cNvPr>
          <p:cNvGrpSpPr/>
          <p:nvPr/>
        </p:nvGrpSpPr>
        <p:grpSpPr>
          <a:xfrm>
            <a:off x="3692849" y="4988485"/>
            <a:ext cx="8189118" cy="1215967"/>
            <a:chOff x="3914775" y="1838325"/>
            <a:chExt cx="7781925" cy="1371600"/>
          </a:xfrm>
        </p:grpSpPr>
        <p:sp>
          <p:nvSpPr>
            <p:cNvPr id="78" name="Rectangle: Rounded Corners 77">
              <a:extLst>
                <a:ext uri="{FF2B5EF4-FFF2-40B4-BE49-F238E27FC236}">
                  <a16:creationId xmlns:a16="http://schemas.microsoft.com/office/drawing/2014/main" id="{BBB77385-2080-4D03-A3BD-6A3B1194AAAD}"/>
                </a:ext>
              </a:extLst>
            </p:cNvPr>
            <p:cNvSpPr/>
            <p:nvPr/>
          </p:nvSpPr>
          <p:spPr>
            <a:xfrm>
              <a:off x="3914775" y="1838325"/>
              <a:ext cx="7781925" cy="1371600"/>
            </a:xfrm>
            <a:prstGeom prst="roundRect">
              <a:avLst/>
            </a:prstGeom>
            <a:solidFill>
              <a:srgbClr val="F15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8D6F9E67-FE87-405D-91F1-78FCBA9B69CA}"/>
                </a:ext>
              </a:extLst>
            </p:cNvPr>
            <p:cNvSpPr/>
            <p:nvPr/>
          </p:nvSpPr>
          <p:spPr>
            <a:xfrm>
              <a:off x="5895863" y="1995839"/>
              <a:ext cx="5546880" cy="1077218"/>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Covid19 contact tracing apps have no utility outside the domain of pandemic control. Users have very low motivation to regularly keep a battery consuming app active. Furthermore, maintaining the services behind an app for a limited phase during onset of pandemic and then discontinuing when user base declines and then again restarting for a future epidemic is not an economical option.</a:t>
              </a:r>
              <a:endParaRPr kumimoji="0" lang="en-ID" sz="14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80" name="Rectangle 79">
              <a:extLst>
                <a:ext uri="{FF2B5EF4-FFF2-40B4-BE49-F238E27FC236}">
                  <a16:creationId xmlns:a16="http://schemas.microsoft.com/office/drawing/2014/main" id="{C02713E0-2180-4768-87D9-5F04EDD85A65}"/>
                </a:ext>
              </a:extLst>
            </p:cNvPr>
            <p:cNvSpPr/>
            <p:nvPr/>
          </p:nvSpPr>
          <p:spPr>
            <a:xfrm>
              <a:off x="4045939" y="2226672"/>
              <a:ext cx="1577294" cy="615553"/>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No incentive for using app</a:t>
              </a:r>
            </a:p>
          </p:txBody>
        </p:sp>
        <p:cxnSp>
          <p:nvCxnSpPr>
            <p:cNvPr id="81" name="Straight Connector 80">
              <a:extLst>
                <a:ext uri="{FF2B5EF4-FFF2-40B4-BE49-F238E27FC236}">
                  <a16:creationId xmlns:a16="http://schemas.microsoft.com/office/drawing/2014/main" id="{CAEE44B2-EC73-49E5-BEF7-3BE558FC427D}"/>
                </a:ext>
              </a:extLst>
            </p:cNvPr>
            <p:cNvCxnSpPr/>
            <p:nvPr/>
          </p:nvCxnSpPr>
          <p:spPr>
            <a:xfrm>
              <a:off x="5705475" y="2026188"/>
              <a:ext cx="0" cy="10165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B62FE321-E20B-4597-B00D-7924B5FED84E}"/>
                </a:ext>
              </a:extLst>
            </p:cNvPr>
            <p:cNvCxnSpPr/>
            <p:nvPr/>
          </p:nvCxnSpPr>
          <p:spPr>
            <a:xfrm>
              <a:off x="5705475" y="2387223"/>
              <a:ext cx="0" cy="294450"/>
            </a:xfrm>
            <a:prstGeom prst="line">
              <a:avLst/>
            </a:prstGeom>
            <a:ln w="635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3DE402E-115B-46FF-AB39-DD24FA865210}"/>
              </a:ext>
            </a:extLst>
          </p:cNvPr>
          <p:cNvSpPr>
            <a:spLocks noGrp="1"/>
          </p:cNvSpPr>
          <p:nvPr>
            <p:ph type="title"/>
          </p:nvPr>
        </p:nvSpPr>
        <p:spPr>
          <a:xfrm>
            <a:off x="574718" y="115696"/>
            <a:ext cx="11049000" cy="787843"/>
          </a:xfrm>
        </p:spPr>
        <p:txBody>
          <a:bodyPr/>
          <a:lstStyle/>
          <a:p>
            <a:r>
              <a:rPr lang="en-US" dirty="0"/>
              <a:t>PROBLEM/OPPORTUNITY</a:t>
            </a:r>
          </a:p>
        </p:txBody>
      </p:sp>
      <p:sp>
        <p:nvSpPr>
          <p:cNvPr id="4" name="Slide Number Placeholder 3">
            <a:extLst>
              <a:ext uri="{FF2B5EF4-FFF2-40B4-BE49-F238E27FC236}">
                <a16:creationId xmlns:a16="http://schemas.microsoft.com/office/drawing/2014/main" id="{3F3B874E-2A87-476D-B2BA-839F6883B4C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AD71B9F-3993-4306-BFF8-A983D4BB9097}" type="slidenum">
              <a:rPr kumimoji="0" lang="en-US" sz="11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0ED7FB6C-6C8B-4B21-843B-A2002060A413}"/>
              </a:ext>
            </a:extLst>
          </p:cNvPr>
          <p:cNvGrpSpPr/>
          <p:nvPr/>
        </p:nvGrpSpPr>
        <p:grpSpPr>
          <a:xfrm>
            <a:off x="248276" y="1365751"/>
            <a:ext cx="4161800" cy="5030020"/>
            <a:chOff x="248276" y="1365751"/>
            <a:chExt cx="4161800" cy="5030020"/>
          </a:xfrm>
        </p:grpSpPr>
        <p:grpSp>
          <p:nvGrpSpPr>
            <p:cNvPr id="84" name="Group 83">
              <a:extLst>
                <a:ext uri="{FF2B5EF4-FFF2-40B4-BE49-F238E27FC236}">
                  <a16:creationId xmlns:a16="http://schemas.microsoft.com/office/drawing/2014/main" id="{168BD8F9-D0DC-4579-9E34-0AB39CE96111}"/>
                </a:ext>
              </a:extLst>
            </p:cNvPr>
            <p:cNvGrpSpPr/>
            <p:nvPr/>
          </p:nvGrpSpPr>
          <p:grpSpPr>
            <a:xfrm>
              <a:off x="248276" y="1365751"/>
              <a:ext cx="4161800" cy="5030020"/>
              <a:chOff x="571500" y="1570935"/>
              <a:chExt cx="3838575" cy="4639365"/>
            </a:xfrm>
            <a:noFill/>
          </p:grpSpPr>
          <p:sp>
            <p:nvSpPr>
              <p:cNvPr id="83" name="Rectangle 82">
                <a:extLst>
                  <a:ext uri="{FF2B5EF4-FFF2-40B4-BE49-F238E27FC236}">
                    <a16:creationId xmlns:a16="http://schemas.microsoft.com/office/drawing/2014/main" id="{81585F37-0493-4C46-AB62-01870AA9B47F}"/>
                  </a:ext>
                </a:extLst>
              </p:cNvPr>
              <p:cNvSpPr/>
              <p:nvPr/>
            </p:nvSpPr>
            <p:spPr>
              <a:xfrm>
                <a:off x="3292448" y="1883344"/>
                <a:ext cx="912206" cy="37977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62">
                <a:extLst>
                  <a:ext uri="{FF2B5EF4-FFF2-40B4-BE49-F238E27FC236}">
                    <a16:creationId xmlns:a16="http://schemas.microsoft.com/office/drawing/2014/main" id="{5316BE1B-C903-4067-870F-47E40EEA0BE0}"/>
                  </a:ext>
                </a:extLst>
              </p:cNvPr>
              <p:cNvGrpSpPr/>
              <p:nvPr/>
            </p:nvGrpSpPr>
            <p:grpSpPr>
              <a:xfrm flipH="1">
                <a:off x="571500" y="1570935"/>
                <a:ext cx="3838575" cy="4639365"/>
                <a:chOff x="1804987" y="1824038"/>
                <a:chExt cx="3500439" cy="4230688"/>
              </a:xfrm>
              <a:grpFill/>
            </p:grpSpPr>
            <p:sp>
              <p:nvSpPr>
                <p:cNvPr id="61" name="Freeform: Shape 60">
                  <a:extLst>
                    <a:ext uri="{FF2B5EF4-FFF2-40B4-BE49-F238E27FC236}">
                      <a16:creationId xmlns:a16="http://schemas.microsoft.com/office/drawing/2014/main" id="{4CBB8137-8C84-4CB7-AEE0-0A85E899E903}"/>
                    </a:ext>
                  </a:extLst>
                </p:cNvPr>
                <p:cNvSpPr>
                  <a:spLocks/>
                </p:cNvSpPr>
                <p:nvPr/>
              </p:nvSpPr>
              <p:spPr bwMode="auto">
                <a:xfrm>
                  <a:off x="1804987" y="1851026"/>
                  <a:ext cx="400050" cy="3694113"/>
                </a:xfrm>
                <a:custGeom>
                  <a:avLst/>
                  <a:gdLst>
                    <a:gd name="connsiteX0" fmla="*/ 400050 w 400050"/>
                    <a:gd name="connsiteY0" fmla="*/ 0 h 3694113"/>
                    <a:gd name="connsiteX1" fmla="*/ 230907 w 400050"/>
                    <a:gd name="connsiteY1" fmla="*/ 69548 h 3694113"/>
                    <a:gd name="connsiteX2" fmla="*/ 230582 w 400050"/>
                    <a:gd name="connsiteY2" fmla="*/ 69557 h 3694113"/>
                    <a:gd name="connsiteX3" fmla="*/ 190333 w 400050"/>
                    <a:gd name="connsiteY3" fmla="*/ 113228 h 3694113"/>
                    <a:gd name="connsiteX4" fmla="*/ 159251 w 400050"/>
                    <a:gd name="connsiteY4" fmla="*/ 166052 h 3694113"/>
                    <a:gd name="connsiteX5" fmla="*/ 158428 w 400050"/>
                    <a:gd name="connsiteY5" fmla="*/ 166098 h 3694113"/>
                    <a:gd name="connsiteX6" fmla="*/ 134161 w 400050"/>
                    <a:gd name="connsiteY6" fmla="*/ 241203 h 3694113"/>
                    <a:gd name="connsiteX7" fmla="*/ 127787 w 400050"/>
                    <a:gd name="connsiteY7" fmla="*/ 323880 h 3694113"/>
                    <a:gd name="connsiteX8" fmla="*/ 128588 w 400050"/>
                    <a:gd name="connsiteY8" fmla="*/ 323850 h 3694113"/>
                    <a:gd name="connsiteX9" fmla="*/ 211138 w 400050"/>
                    <a:gd name="connsiteY9" fmla="*/ 3689351 h 3694113"/>
                    <a:gd name="connsiteX10" fmla="*/ 82550 w 400050"/>
                    <a:gd name="connsiteY10" fmla="*/ 3694113 h 3694113"/>
                    <a:gd name="connsiteX11" fmla="*/ 0 w 400050"/>
                    <a:gd name="connsiteY11" fmla="*/ 328613 h 3694113"/>
                    <a:gd name="connsiteX12" fmla="*/ 0 w 400050"/>
                    <a:gd name="connsiteY12" fmla="*/ 328613 h 3694113"/>
                    <a:gd name="connsiteX13" fmla="*/ 0 w 400050"/>
                    <a:gd name="connsiteY13" fmla="*/ 328613 h 3694113"/>
                    <a:gd name="connsiteX14" fmla="*/ 0 w 400050"/>
                    <a:gd name="connsiteY14" fmla="*/ 328613 h 3694113"/>
                    <a:gd name="connsiteX15" fmla="*/ 0 w 400050"/>
                    <a:gd name="connsiteY15" fmla="*/ 328613 h 3694113"/>
                    <a:gd name="connsiteX16" fmla="*/ 8196 w 400050"/>
                    <a:gd name="connsiteY16" fmla="*/ 246422 h 3694113"/>
                    <a:gd name="connsiteX17" fmla="*/ 34511 w 400050"/>
                    <a:gd name="connsiteY17" fmla="*/ 172058 h 3694113"/>
                    <a:gd name="connsiteX18" fmla="*/ 35506 w 400050"/>
                    <a:gd name="connsiteY18" fmla="*/ 172002 h 3694113"/>
                    <a:gd name="connsiteX19" fmla="*/ 65575 w 400050"/>
                    <a:gd name="connsiteY19" fmla="*/ 118467 h 3694113"/>
                    <a:gd name="connsiteX20" fmla="*/ 103995 w 400050"/>
                    <a:gd name="connsiteY20" fmla="*/ 71755 h 3694113"/>
                    <a:gd name="connsiteX21" fmla="*/ 105298 w 400050"/>
                    <a:gd name="connsiteY21" fmla="*/ 71719 h 3694113"/>
                    <a:gd name="connsiteX22" fmla="*/ 182581 w 400050"/>
                    <a:gd name="connsiteY22" fmla="*/ 23907 h 3694113"/>
                    <a:gd name="connsiteX23" fmla="*/ 272330 w 400050"/>
                    <a:gd name="connsiteY23" fmla="*/ 3477 h 3694113"/>
                    <a:gd name="connsiteX24" fmla="*/ 400050 w 400050"/>
                    <a:gd name="connsiteY24" fmla="*/ 0 h 369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0050" h="3694113">
                      <a:moveTo>
                        <a:pt x="400050" y="0"/>
                      </a:moveTo>
                      <a:cubicBezTo>
                        <a:pt x="334464" y="3477"/>
                        <a:pt x="275782" y="27819"/>
                        <a:pt x="230907" y="69548"/>
                      </a:cubicBezTo>
                      <a:lnTo>
                        <a:pt x="230582" y="69557"/>
                      </a:lnTo>
                      <a:lnTo>
                        <a:pt x="190333" y="113228"/>
                      </a:lnTo>
                      <a:cubicBezTo>
                        <a:pt x="178246" y="129381"/>
                        <a:pt x="167885" y="146843"/>
                        <a:pt x="159251" y="166052"/>
                      </a:cubicBezTo>
                      <a:lnTo>
                        <a:pt x="158428" y="166098"/>
                      </a:lnTo>
                      <a:lnTo>
                        <a:pt x="134161" y="241203"/>
                      </a:lnTo>
                      <a:lnTo>
                        <a:pt x="127787" y="323880"/>
                      </a:lnTo>
                      <a:lnTo>
                        <a:pt x="128588" y="323850"/>
                      </a:lnTo>
                      <a:lnTo>
                        <a:pt x="211138" y="3689351"/>
                      </a:lnTo>
                      <a:lnTo>
                        <a:pt x="82550" y="3694113"/>
                      </a:lnTo>
                      <a:lnTo>
                        <a:pt x="0" y="328613"/>
                      </a:lnTo>
                      <a:lnTo>
                        <a:pt x="0" y="328613"/>
                      </a:lnTo>
                      <a:lnTo>
                        <a:pt x="0" y="328613"/>
                      </a:lnTo>
                      <a:lnTo>
                        <a:pt x="0" y="328613"/>
                      </a:lnTo>
                      <a:lnTo>
                        <a:pt x="0" y="328613"/>
                      </a:lnTo>
                      <a:lnTo>
                        <a:pt x="8196" y="246422"/>
                      </a:lnTo>
                      <a:cubicBezTo>
                        <a:pt x="13804" y="219894"/>
                        <a:pt x="22432" y="194672"/>
                        <a:pt x="34511" y="172058"/>
                      </a:cubicBezTo>
                      <a:lnTo>
                        <a:pt x="35506" y="172002"/>
                      </a:lnTo>
                      <a:lnTo>
                        <a:pt x="65575" y="118467"/>
                      </a:lnTo>
                      <a:cubicBezTo>
                        <a:pt x="77230" y="101441"/>
                        <a:pt x="90181" y="85725"/>
                        <a:pt x="103995" y="71755"/>
                      </a:cubicBezTo>
                      <a:lnTo>
                        <a:pt x="105298" y="71719"/>
                      </a:lnTo>
                      <a:lnTo>
                        <a:pt x="182581" y="23907"/>
                      </a:lnTo>
                      <a:cubicBezTo>
                        <a:pt x="211059" y="12171"/>
                        <a:pt x="241263" y="5216"/>
                        <a:pt x="272330" y="3477"/>
                      </a:cubicBezTo>
                      <a:cubicBezTo>
                        <a:pt x="400050" y="0"/>
                        <a:pt x="400050" y="0"/>
                        <a:pt x="400050"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17">
                  <a:extLst>
                    <a:ext uri="{FF2B5EF4-FFF2-40B4-BE49-F238E27FC236}">
                      <a16:creationId xmlns:a16="http://schemas.microsoft.com/office/drawing/2014/main" id="{9444CA25-5874-4484-BADA-BAAD50074340}"/>
                    </a:ext>
                  </a:extLst>
                </p:cNvPr>
                <p:cNvSpPr>
                  <a:spLocks/>
                </p:cNvSpPr>
                <p:nvPr/>
              </p:nvSpPr>
              <p:spPr bwMode="auto">
                <a:xfrm>
                  <a:off x="1887538" y="5540376"/>
                  <a:ext cx="414338" cy="317500"/>
                </a:xfrm>
                <a:custGeom>
                  <a:avLst/>
                  <a:gdLst>
                    <a:gd name="T0" fmla="*/ 120 w 120"/>
                    <a:gd name="T1" fmla="*/ 90 h 92"/>
                    <a:gd name="T2" fmla="*/ 84 w 120"/>
                    <a:gd name="T3" fmla="*/ 91 h 92"/>
                    <a:gd name="T4" fmla="*/ 0 w 120"/>
                    <a:gd name="T5" fmla="*/ 1 h 92"/>
                    <a:gd name="T6" fmla="*/ 37 w 120"/>
                    <a:gd name="T7" fmla="*/ 0 h 92"/>
                    <a:gd name="T8" fmla="*/ 120 w 120"/>
                    <a:gd name="T9" fmla="*/ 90 h 92"/>
                  </a:gdLst>
                  <a:ahLst/>
                  <a:cxnLst>
                    <a:cxn ang="0">
                      <a:pos x="T0" y="T1"/>
                    </a:cxn>
                    <a:cxn ang="0">
                      <a:pos x="T2" y="T3"/>
                    </a:cxn>
                    <a:cxn ang="0">
                      <a:pos x="T4" y="T5"/>
                    </a:cxn>
                    <a:cxn ang="0">
                      <a:pos x="T6" y="T7"/>
                    </a:cxn>
                    <a:cxn ang="0">
                      <a:pos x="T8" y="T9"/>
                    </a:cxn>
                  </a:cxnLst>
                  <a:rect l="0" t="0" r="r" b="b"/>
                  <a:pathLst>
                    <a:path w="120" h="92">
                      <a:moveTo>
                        <a:pt x="120" y="90"/>
                      </a:moveTo>
                      <a:cubicBezTo>
                        <a:pt x="84" y="91"/>
                        <a:pt x="84" y="91"/>
                        <a:pt x="84" y="91"/>
                      </a:cubicBezTo>
                      <a:cubicBezTo>
                        <a:pt x="39" y="92"/>
                        <a:pt x="2" y="52"/>
                        <a:pt x="0" y="1"/>
                      </a:cubicBezTo>
                      <a:cubicBezTo>
                        <a:pt x="37" y="0"/>
                        <a:pt x="37" y="0"/>
                        <a:pt x="37" y="0"/>
                      </a:cubicBezTo>
                      <a:cubicBezTo>
                        <a:pt x="38" y="51"/>
                        <a:pt x="76" y="91"/>
                        <a:pt x="120" y="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18">
                  <a:extLst>
                    <a:ext uri="{FF2B5EF4-FFF2-40B4-BE49-F238E27FC236}">
                      <a16:creationId xmlns:a16="http://schemas.microsoft.com/office/drawing/2014/main" id="{1C6B2512-D7A0-435C-87C2-B881988E935C}"/>
                    </a:ext>
                  </a:extLst>
                </p:cNvPr>
                <p:cNvSpPr>
                  <a:spLocks/>
                </p:cNvSpPr>
                <p:nvPr/>
              </p:nvSpPr>
              <p:spPr bwMode="auto">
                <a:xfrm>
                  <a:off x="2892425" y="2489201"/>
                  <a:ext cx="538163" cy="120650"/>
                </a:xfrm>
                <a:custGeom>
                  <a:avLst/>
                  <a:gdLst>
                    <a:gd name="T0" fmla="*/ 337 w 339"/>
                    <a:gd name="T1" fmla="*/ 0 h 76"/>
                    <a:gd name="T2" fmla="*/ 339 w 339"/>
                    <a:gd name="T3" fmla="*/ 68 h 76"/>
                    <a:gd name="T4" fmla="*/ 0 w 339"/>
                    <a:gd name="T5" fmla="*/ 76 h 76"/>
                    <a:gd name="T6" fmla="*/ 0 w 339"/>
                    <a:gd name="T7" fmla="*/ 7 h 76"/>
                    <a:gd name="T8" fmla="*/ 337 w 339"/>
                    <a:gd name="T9" fmla="*/ 0 h 76"/>
                    <a:gd name="T10" fmla="*/ 337 w 339"/>
                    <a:gd name="T11" fmla="*/ 0 h 76"/>
                  </a:gdLst>
                  <a:ahLst/>
                  <a:cxnLst>
                    <a:cxn ang="0">
                      <a:pos x="T0" y="T1"/>
                    </a:cxn>
                    <a:cxn ang="0">
                      <a:pos x="T2" y="T3"/>
                    </a:cxn>
                    <a:cxn ang="0">
                      <a:pos x="T4" y="T5"/>
                    </a:cxn>
                    <a:cxn ang="0">
                      <a:pos x="T6" y="T7"/>
                    </a:cxn>
                    <a:cxn ang="0">
                      <a:pos x="T8" y="T9"/>
                    </a:cxn>
                    <a:cxn ang="0">
                      <a:pos x="T10" y="T11"/>
                    </a:cxn>
                  </a:cxnLst>
                  <a:rect l="0" t="0" r="r" b="b"/>
                  <a:pathLst>
                    <a:path w="339" h="76">
                      <a:moveTo>
                        <a:pt x="337" y="0"/>
                      </a:moveTo>
                      <a:lnTo>
                        <a:pt x="339" y="68"/>
                      </a:lnTo>
                      <a:lnTo>
                        <a:pt x="0" y="76"/>
                      </a:lnTo>
                      <a:lnTo>
                        <a:pt x="0" y="7"/>
                      </a:lnTo>
                      <a:lnTo>
                        <a:pt x="337" y="0"/>
                      </a:lnTo>
                      <a:lnTo>
                        <a:pt x="3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9">
                  <a:extLst>
                    <a:ext uri="{FF2B5EF4-FFF2-40B4-BE49-F238E27FC236}">
                      <a16:creationId xmlns:a16="http://schemas.microsoft.com/office/drawing/2014/main" id="{5821977C-DC97-4EF4-9C71-121358DD8D91}"/>
                    </a:ext>
                  </a:extLst>
                </p:cNvPr>
                <p:cNvSpPr>
                  <a:spLocks/>
                </p:cNvSpPr>
                <p:nvPr/>
              </p:nvSpPr>
              <p:spPr bwMode="auto">
                <a:xfrm>
                  <a:off x="2146300" y="2459038"/>
                  <a:ext cx="677863" cy="679450"/>
                </a:xfrm>
                <a:custGeom>
                  <a:avLst/>
                  <a:gdLst>
                    <a:gd name="T0" fmla="*/ 164 w 196"/>
                    <a:gd name="T1" fmla="*/ 0 h 197"/>
                    <a:gd name="T2" fmla="*/ 192 w 196"/>
                    <a:gd name="T3" fmla="*/ 31 h 197"/>
                    <a:gd name="T4" fmla="*/ 195 w 196"/>
                    <a:gd name="T5" fmla="*/ 162 h 197"/>
                    <a:gd name="T6" fmla="*/ 169 w 196"/>
                    <a:gd name="T7" fmla="*/ 194 h 197"/>
                    <a:gd name="T8" fmla="*/ 32 w 196"/>
                    <a:gd name="T9" fmla="*/ 197 h 197"/>
                    <a:gd name="T10" fmla="*/ 4 w 196"/>
                    <a:gd name="T11" fmla="*/ 166 h 197"/>
                    <a:gd name="T12" fmla="*/ 1 w 196"/>
                    <a:gd name="T13" fmla="*/ 35 h 197"/>
                    <a:gd name="T14" fmla="*/ 27 w 196"/>
                    <a:gd name="T15" fmla="*/ 3 h 197"/>
                    <a:gd name="T16" fmla="*/ 164 w 196"/>
                    <a:gd name="T17"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97">
                      <a:moveTo>
                        <a:pt x="164" y="0"/>
                      </a:moveTo>
                      <a:cubicBezTo>
                        <a:pt x="179" y="0"/>
                        <a:pt x="192" y="14"/>
                        <a:pt x="192" y="31"/>
                      </a:cubicBezTo>
                      <a:cubicBezTo>
                        <a:pt x="195" y="162"/>
                        <a:pt x="195" y="162"/>
                        <a:pt x="195" y="162"/>
                      </a:cubicBezTo>
                      <a:cubicBezTo>
                        <a:pt x="196" y="179"/>
                        <a:pt x="184" y="193"/>
                        <a:pt x="169" y="194"/>
                      </a:cubicBezTo>
                      <a:cubicBezTo>
                        <a:pt x="32" y="197"/>
                        <a:pt x="32" y="197"/>
                        <a:pt x="32" y="197"/>
                      </a:cubicBezTo>
                      <a:cubicBezTo>
                        <a:pt x="17" y="197"/>
                        <a:pt x="4" y="183"/>
                        <a:pt x="4" y="166"/>
                      </a:cubicBezTo>
                      <a:cubicBezTo>
                        <a:pt x="1" y="35"/>
                        <a:pt x="1" y="35"/>
                        <a:pt x="1" y="35"/>
                      </a:cubicBezTo>
                      <a:cubicBezTo>
                        <a:pt x="0" y="18"/>
                        <a:pt x="12" y="4"/>
                        <a:pt x="27" y="3"/>
                      </a:cubicBezTo>
                      <a:cubicBezTo>
                        <a:pt x="164" y="0"/>
                        <a:pt x="164" y="0"/>
                        <a:pt x="1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0">
                  <a:extLst>
                    <a:ext uri="{FF2B5EF4-FFF2-40B4-BE49-F238E27FC236}">
                      <a16:creationId xmlns:a16="http://schemas.microsoft.com/office/drawing/2014/main" id="{12F8E826-5036-47C5-9C8D-516C4C7D6E64}"/>
                    </a:ext>
                  </a:extLst>
                </p:cNvPr>
                <p:cNvSpPr>
                  <a:spLocks noEditPoints="1"/>
                </p:cNvSpPr>
                <p:nvPr/>
              </p:nvSpPr>
              <p:spPr bwMode="auto">
                <a:xfrm>
                  <a:off x="2046288" y="2286001"/>
                  <a:ext cx="1571625" cy="3054350"/>
                </a:xfrm>
                <a:custGeom>
                  <a:avLst/>
                  <a:gdLst>
                    <a:gd name="T0" fmla="*/ 245 w 455"/>
                    <a:gd name="T1" fmla="*/ 62 h 885"/>
                    <a:gd name="T2" fmla="*/ 245 w 455"/>
                    <a:gd name="T3" fmla="*/ 94 h 885"/>
                    <a:gd name="T4" fmla="*/ 401 w 455"/>
                    <a:gd name="T5" fmla="*/ 90 h 885"/>
                    <a:gd name="T6" fmla="*/ 400 w 455"/>
                    <a:gd name="T7" fmla="*/ 59 h 885"/>
                    <a:gd name="T8" fmla="*/ 245 w 455"/>
                    <a:gd name="T9" fmla="*/ 62 h 885"/>
                    <a:gd name="T10" fmla="*/ 246 w 455"/>
                    <a:gd name="T11" fmla="*/ 120 h 885"/>
                    <a:gd name="T12" fmla="*/ 247 w 455"/>
                    <a:gd name="T13" fmla="*/ 151 h 885"/>
                    <a:gd name="T14" fmla="*/ 402 w 455"/>
                    <a:gd name="T15" fmla="*/ 148 h 885"/>
                    <a:gd name="T16" fmla="*/ 402 w 455"/>
                    <a:gd name="T17" fmla="*/ 116 h 885"/>
                    <a:gd name="T18" fmla="*/ 246 w 455"/>
                    <a:gd name="T19" fmla="*/ 120 h 885"/>
                    <a:gd name="T20" fmla="*/ 421 w 455"/>
                    <a:gd name="T21" fmla="*/ 341 h 885"/>
                    <a:gd name="T22" fmla="*/ 421 w 455"/>
                    <a:gd name="T23" fmla="*/ 309 h 885"/>
                    <a:gd name="T24" fmla="*/ 35 w 455"/>
                    <a:gd name="T25" fmla="*/ 318 h 885"/>
                    <a:gd name="T26" fmla="*/ 36 w 455"/>
                    <a:gd name="T27" fmla="*/ 349 h 885"/>
                    <a:gd name="T28" fmla="*/ 421 w 455"/>
                    <a:gd name="T29" fmla="*/ 341 h 885"/>
                    <a:gd name="T30" fmla="*/ 423 w 455"/>
                    <a:gd name="T31" fmla="*/ 398 h 885"/>
                    <a:gd name="T32" fmla="*/ 422 w 455"/>
                    <a:gd name="T33" fmla="*/ 367 h 885"/>
                    <a:gd name="T34" fmla="*/ 37 w 455"/>
                    <a:gd name="T35" fmla="*/ 376 h 885"/>
                    <a:gd name="T36" fmla="*/ 38 w 455"/>
                    <a:gd name="T37" fmla="*/ 407 h 885"/>
                    <a:gd name="T38" fmla="*/ 423 w 455"/>
                    <a:gd name="T39" fmla="*/ 398 h 885"/>
                    <a:gd name="T40" fmla="*/ 30 w 455"/>
                    <a:gd name="T41" fmla="*/ 85 h 885"/>
                    <a:gd name="T42" fmla="*/ 33 w 455"/>
                    <a:gd name="T43" fmla="*/ 216 h 885"/>
                    <a:gd name="T44" fmla="*/ 61 w 455"/>
                    <a:gd name="T45" fmla="*/ 247 h 885"/>
                    <a:gd name="T46" fmla="*/ 198 w 455"/>
                    <a:gd name="T47" fmla="*/ 244 h 885"/>
                    <a:gd name="T48" fmla="*/ 224 w 455"/>
                    <a:gd name="T49" fmla="*/ 212 h 885"/>
                    <a:gd name="T50" fmla="*/ 221 w 455"/>
                    <a:gd name="T51" fmla="*/ 81 h 885"/>
                    <a:gd name="T52" fmla="*/ 193 w 455"/>
                    <a:gd name="T53" fmla="*/ 50 h 885"/>
                    <a:gd name="T54" fmla="*/ 56 w 455"/>
                    <a:gd name="T55" fmla="*/ 53 h 885"/>
                    <a:gd name="T56" fmla="*/ 30 w 455"/>
                    <a:gd name="T57" fmla="*/ 85 h 885"/>
                    <a:gd name="T58" fmla="*/ 427 w 455"/>
                    <a:gd name="T59" fmla="*/ 791 h 885"/>
                    <a:gd name="T60" fmla="*/ 419 w 455"/>
                    <a:gd name="T61" fmla="*/ 445 h 885"/>
                    <a:gd name="T62" fmla="*/ 39 w 455"/>
                    <a:gd name="T63" fmla="*/ 454 h 885"/>
                    <a:gd name="T64" fmla="*/ 47 w 455"/>
                    <a:gd name="T65" fmla="*/ 800 h 885"/>
                    <a:gd name="T66" fmla="*/ 427 w 455"/>
                    <a:gd name="T67" fmla="*/ 791 h 885"/>
                    <a:gd name="T68" fmla="*/ 433 w 455"/>
                    <a:gd name="T69" fmla="*/ 0 h 885"/>
                    <a:gd name="T70" fmla="*/ 455 w 455"/>
                    <a:gd name="T71" fmla="*/ 875 h 885"/>
                    <a:gd name="T72" fmla="*/ 21 w 455"/>
                    <a:gd name="T73" fmla="*/ 885 h 885"/>
                    <a:gd name="T74" fmla="*/ 0 w 455"/>
                    <a:gd name="T75" fmla="*/ 10 h 885"/>
                    <a:gd name="T76" fmla="*/ 433 w 455"/>
                    <a:gd name="T77" fmla="*/ 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5" h="885">
                      <a:moveTo>
                        <a:pt x="245" y="62"/>
                      </a:moveTo>
                      <a:cubicBezTo>
                        <a:pt x="245" y="94"/>
                        <a:pt x="245" y="94"/>
                        <a:pt x="245" y="94"/>
                      </a:cubicBezTo>
                      <a:cubicBezTo>
                        <a:pt x="401" y="90"/>
                        <a:pt x="401" y="90"/>
                        <a:pt x="401" y="90"/>
                      </a:cubicBezTo>
                      <a:cubicBezTo>
                        <a:pt x="400" y="59"/>
                        <a:pt x="400" y="59"/>
                        <a:pt x="400" y="59"/>
                      </a:cubicBezTo>
                      <a:cubicBezTo>
                        <a:pt x="245" y="62"/>
                        <a:pt x="245" y="62"/>
                        <a:pt x="245" y="62"/>
                      </a:cubicBezTo>
                      <a:moveTo>
                        <a:pt x="246" y="120"/>
                      </a:moveTo>
                      <a:cubicBezTo>
                        <a:pt x="247" y="151"/>
                        <a:pt x="247" y="151"/>
                        <a:pt x="247" y="151"/>
                      </a:cubicBezTo>
                      <a:cubicBezTo>
                        <a:pt x="402" y="148"/>
                        <a:pt x="402" y="148"/>
                        <a:pt x="402" y="148"/>
                      </a:cubicBezTo>
                      <a:cubicBezTo>
                        <a:pt x="402" y="116"/>
                        <a:pt x="402" y="116"/>
                        <a:pt x="402" y="116"/>
                      </a:cubicBezTo>
                      <a:cubicBezTo>
                        <a:pt x="246" y="120"/>
                        <a:pt x="246" y="120"/>
                        <a:pt x="246" y="120"/>
                      </a:cubicBezTo>
                      <a:moveTo>
                        <a:pt x="421" y="341"/>
                      </a:moveTo>
                      <a:cubicBezTo>
                        <a:pt x="421" y="309"/>
                        <a:pt x="421" y="309"/>
                        <a:pt x="421" y="309"/>
                      </a:cubicBezTo>
                      <a:cubicBezTo>
                        <a:pt x="35" y="318"/>
                        <a:pt x="35" y="318"/>
                        <a:pt x="35" y="318"/>
                      </a:cubicBezTo>
                      <a:cubicBezTo>
                        <a:pt x="36" y="349"/>
                        <a:pt x="36" y="349"/>
                        <a:pt x="36" y="349"/>
                      </a:cubicBezTo>
                      <a:cubicBezTo>
                        <a:pt x="421" y="341"/>
                        <a:pt x="421" y="341"/>
                        <a:pt x="421" y="341"/>
                      </a:cubicBezTo>
                      <a:moveTo>
                        <a:pt x="423" y="398"/>
                      </a:moveTo>
                      <a:cubicBezTo>
                        <a:pt x="422" y="367"/>
                        <a:pt x="422" y="367"/>
                        <a:pt x="422" y="367"/>
                      </a:cubicBezTo>
                      <a:cubicBezTo>
                        <a:pt x="37" y="376"/>
                        <a:pt x="37" y="376"/>
                        <a:pt x="37" y="376"/>
                      </a:cubicBezTo>
                      <a:cubicBezTo>
                        <a:pt x="38" y="407"/>
                        <a:pt x="38" y="407"/>
                        <a:pt x="38" y="407"/>
                      </a:cubicBezTo>
                      <a:cubicBezTo>
                        <a:pt x="423" y="398"/>
                        <a:pt x="423" y="398"/>
                        <a:pt x="423" y="398"/>
                      </a:cubicBezTo>
                      <a:moveTo>
                        <a:pt x="30" y="85"/>
                      </a:moveTo>
                      <a:cubicBezTo>
                        <a:pt x="33" y="216"/>
                        <a:pt x="33" y="216"/>
                        <a:pt x="33" y="216"/>
                      </a:cubicBezTo>
                      <a:cubicBezTo>
                        <a:pt x="33" y="233"/>
                        <a:pt x="46" y="247"/>
                        <a:pt x="61" y="247"/>
                      </a:cubicBezTo>
                      <a:cubicBezTo>
                        <a:pt x="198" y="244"/>
                        <a:pt x="198" y="244"/>
                        <a:pt x="198" y="244"/>
                      </a:cubicBezTo>
                      <a:cubicBezTo>
                        <a:pt x="213" y="243"/>
                        <a:pt x="225" y="229"/>
                        <a:pt x="224" y="212"/>
                      </a:cubicBezTo>
                      <a:cubicBezTo>
                        <a:pt x="221" y="81"/>
                        <a:pt x="221" y="81"/>
                        <a:pt x="221" y="81"/>
                      </a:cubicBezTo>
                      <a:cubicBezTo>
                        <a:pt x="221" y="64"/>
                        <a:pt x="208" y="50"/>
                        <a:pt x="193" y="50"/>
                      </a:cubicBezTo>
                      <a:cubicBezTo>
                        <a:pt x="56" y="53"/>
                        <a:pt x="56" y="53"/>
                        <a:pt x="56" y="53"/>
                      </a:cubicBezTo>
                      <a:cubicBezTo>
                        <a:pt x="41" y="54"/>
                        <a:pt x="29" y="68"/>
                        <a:pt x="30" y="85"/>
                      </a:cubicBezTo>
                      <a:moveTo>
                        <a:pt x="427" y="791"/>
                      </a:moveTo>
                      <a:cubicBezTo>
                        <a:pt x="419" y="445"/>
                        <a:pt x="419" y="445"/>
                        <a:pt x="419" y="445"/>
                      </a:cubicBezTo>
                      <a:cubicBezTo>
                        <a:pt x="39" y="454"/>
                        <a:pt x="39" y="454"/>
                        <a:pt x="39" y="454"/>
                      </a:cubicBezTo>
                      <a:cubicBezTo>
                        <a:pt x="47" y="800"/>
                        <a:pt x="47" y="800"/>
                        <a:pt x="47" y="800"/>
                      </a:cubicBezTo>
                      <a:cubicBezTo>
                        <a:pt x="427" y="791"/>
                        <a:pt x="427" y="791"/>
                        <a:pt x="427" y="791"/>
                      </a:cubicBezTo>
                      <a:moveTo>
                        <a:pt x="433" y="0"/>
                      </a:moveTo>
                      <a:cubicBezTo>
                        <a:pt x="455" y="875"/>
                        <a:pt x="455" y="875"/>
                        <a:pt x="455" y="875"/>
                      </a:cubicBezTo>
                      <a:cubicBezTo>
                        <a:pt x="21" y="885"/>
                        <a:pt x="21" y="885"/>
                        <a:pt x="21" y="885"/>
                      </a:cubicBezTo>
                      <a:cubicBezTo>
                        <a:pt x="0" y="10"/>
                        <a:pt x="0" y="10"/>
                        <a:pt x="0" y="10"/>
                      </a:cubicBezTo>
                      <a:cubicBezTo>
                        <a:pt x="433" y="0"/>
                        <a:pt x="433" y="0"/>
                        <a:pt x="4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21">
                  <a:extLst>
                    <a:ext uri="{FF2B5EF4-FFF2-40B4-BE49-F238E27FC236}">
                      <a16:creationId xmlns:a16="http://schemas.microsoft.com/office/drawing/2014/main" id="{04731A76-B279-4925-B6C7-C23F043CA6CB}"/>
                    </a:ext>
                  </a:extLst>
                </p:cNvPr>
                <p:cNvSpPr>
                  <a:spLocks/>
                </p:cNvSpPr>
                <p:nvPr/>
              </p:nvSpPr>
              <p:spPr bwMode="auto">
                <a:xfrm>
                  <a:off x="2895600" y="2686051"/>
                  <a:ext cx="539750" cy="120650"/>
                </a:xfrm>
                <a:custGeom>
                  <a:avLst/>
                  <a:gdLst>
                    <a:gd name="T0" fmla="*/ 340 w 340"/>
                    <a:gd name="T1" fmla="*/ 0 h 76"/>
                    <a:gd name="T2" fmla="*/ 340 w 340"/>
                    <a:gd name="T3" fmla="*/ 70 h 76"/>
                    <a:gd name="T4" fmla="*/ 2 w 340"/>
                    <a:gd name="T5" fmla="*/ 76 h 76"/>
                    <a:gd name="T6" fmla="*/ 0 w 340"/>
                    <a:gd name="T7" fmla="*/ 9 h 76"/>
                    <a:gd name="T8" fmla="*/ 340 w 340"/>
                    <a:gd name="T9" fmla="*/ 0 h 76"/>
                    <a:gd name="T10" fmla="*/ 340 w 340"/>
                    <a:gd name="T11" fmla="*/ 0 h 76"/>
                  </a:gdLst>
                  <a:ahLst/>
                  <a:cxnLst>
                    <a:cxn ang="0">
                      <a:pos x="T0" y="T1"/>
                    </a:cxn>
                    <a:cxn ang="0">
                      <a:pos x="T2" y="T3"/>
                    </a:cxn>
                    <a:cxn ang="0">
                      <a:pos x="T4" y="T5"/>
                    </a:cxn>
                    <a:cxn ang="0">
                      <a:pos x="T6" y="T7"/>
                    </a:cxn>
                    <a:cxn ang="0">
                      <a:pos x="T8" y="T9"/>
                    </a:cxn>
                    <a:cxn ang="0">
                      <a:pos x="T10" y="T11"/>
                    </a:cxn>
                  </a:cxnLst>
                  <a:rect l="0" t="0" r="r" b="b"/>
                  <a:pathLst>
                    <a:path w="340" h="76">
                      <a:moveTo>
                        <a:pt x="340" y="0"/>
                      </a:moveTo>
                      <a:lnTo>
                        <a:pt x="340" y="70"/>
                      </a:lnTo>
                      <a:lnTo>
                        <a:pt x="2" y="76"/>
                      </a:lnTo>
                      <a:lnTo>
                        <a:pt x="0" y="9"/>
                      </a:lnTo>
                      <a:lnTo>
                        <a:pt x="340" y="0"/>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22">
                  <a:extLst>
                    <a:ext uri="{FF2B5EF4-FFF2-40B4-BE49-F238E27FC236}">
                      <a16:creationId xmlns:a16="http://schemas.microsoft.com/office/drawing/2014/main" id="{B94E48D0-FAF4-4B1E-9C40-E6E609B6C112}"/>
                    </a:ext>
                  </a:extLst>
                </p:cNvPr>
                <p:cNvSpPr>
                  <a:spLocks/>
                </p:cNvSpPr>
                <p:nvPr/>
              </p:nvSpPr>
              <p:spPr bwMode="auto">
                <a:xfrm>
                  <a:off x="2833688" y="1947863"/>
                  <a:ext cx="52388" cy="55563"/>
                </a:xfrm>
                <a:custGeom>
                  <a:avLst/>
                  <a:gdLst>
                    <a:gd name="T0" fmla="*/ 7 w 15"/>
                    <a:gd name="T1" fmla="*/ 0 h 16"/>
                    <a:gd name="T2" fmla="*/ 15 w 15"/>
                    <a:gd name="T3" fmla="*/ 8 h 16"/>
                    <a:gd name="T4" fmla="*/ 8 w 15"/>
                    <a:gd name="T5" fmla="*/ 16 h 16"/>
                    <a:gd name="T6" fmla="*/ 0 w 15"/>
                    <a:gd name="T7" fmla="*/ 8 h 16"/>
                    <a:gd name="T8" fmla="*/ 7 w 15"/>
                    <a:gd name="T9" fmla="*/ 0 h 16"/>
                  </a:gdLst>
                  <a:ahLst/>
                  <a:cxnLst>
                    <a:cxn ang="0">
                      <a:pos x="T0" y="T1"/>
                    </a:cxn>
                    <a:cxn ang="0">
                      <a:pos x="T2" y="T3"/>
                    </a:cxn>
                    <a:cxn ang="0">
                      <a:pos x="T4" y="T5"/>
                    </a:cxn>
                    <a:cxn ang="0">
                      <a:pos x="T6" y="T7"/>
                    </a:cxn>
                    <a:cxn ang="0">
                      <a:pos x="T8" y="T9"/>
                    </a:cxn>
                  </a:cxnLst>
                  <a:rect l="0" t="0" r="r" b="b"/>
                  <a:pathLst>
                    <a:path w="15" h="16">
                      <a:moveTo>
                        <a:pt x="7" y="0"/>
                      </a:moveTo>
                      <a:cubicBezTo>
                        <a:pt x="11" y="0"/>
                        <a:pt x="15" y="3"/>
                        <a:pt x="15" y="8"/>
                      </a:cubicBezTo>
                      <a:cubicBezTo>
                        <a:pt x="15" y="12"/>
                        <a:pt x="12" y="16"/>
                        <a:pt x="8" y="16"/>
                      </a:cubicBezTo>
                      <a:cubicBezTo>
                        <a:pt x="4" y="16"/>
                        <a:pt x="1" y="13"/>
                        <a:pt x="0" y="8"/>
                      </a:cubicBezTo>
                      <a:cubicBezTo>
                        <a:pt x="0" y="4"/>
                        <a:pt x="3" y="0"/>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23">
                  <a:extLst>
                    <a:ext uri="{FF2B5EF4-FFF2-40B4-BE49-F238E27FC236}">
                      <a16:creationId xmlns:a16="http://schemas.microsoft.com/office/drawing/2014/main" id="{131B7D53-5151-40DF-8573-188543CBD8EE}"/>
                    </a:ext>
                  </a:extLst>
                </p:cNvPr>
                <p:cNvSpPr>
                  <a:spLocks/>
                </p:cNvSpPr>
                <p:nvPr/>
              </p:nvSpPr>
              <p:spPr bwMode="auto">
                <a:xfrm>
                  <a:off x="2713038" y="2082801"/>
                  <a:ext cx="300038" cy="41275"/>
                </a:xfrm>
                <a:custGeom>
                  <a:avLst/>
                  <a:gdLst>
                    <a:gd name="T0" fmla="*/ 82 w 87"/>
                    <a:gd name="T1" fmla="*/ 0 h 12"/>
                    <a:gd name="T2" fmla="*/ 87 w 87"/>
                    <a:gd name="T3" fmla="*/ 5 h 12"/>
                    <a:gd name="T4" fmla="*/ 83 w 87"/>
                    <a:gd name="T5" fmla="*/ 10 h 12"/>
                    <a:gd name="T6" fmla="*/ 5 w 87"/>
                    <a:gd name="T7" fmla="*/ 12 h 12"/>
                    <a:gd name="T8" fmla="*/ 0 w 87"/>
                    <a:gd name="T9" fmla="*/ 7 h 12"/>
                    <a:gd name="T10" fmla="*/ 5 w 87"/>
                    <a:gd name="T11" fmla="*/ 1 h 12"/>
                    <a:gd name="T12" fmla="*/ 82 w 8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7" h="12">
                      <a:moveTo>
                        <a:pt x="82" y="0"/>
                      </a:moveTo>
                      <a:cubicBezTo>
                        <a:pt x="85" y="0"/>
                        <a:pt x="87" y="2"/>
                        <a:pt x="87" y="5"/>
                      </a:cubicBezTo>
                      <a:cubicBezTo>
                        <a:pt x="87" y="7"/>
                        <a:pt x="85" y="10"/>
                        <a:pt x="83" y="10"/>
                      </a:cubicBezTo>
                      <a:cubicBezTo>
                        <a:pt x="5" y="12"/>
                        <a:pt x="5" y="12"/>
                        <a:pt x="5" y="12"/>
                      </a:cubicBezTo>
                      <a:cubicBezTo>
                        <a:pt x="2" y="12"/>
                        <a:pt x="0" y="9"/>
                        <a:pt x="0" y="7"/>
                      </a:cubicBezTo>
                      <a:cubicBezTo>
                        <a:pt x="0" y="4"/>
                        <a:pt x="2" y="1"/>
                        <a:pt x="5" y="1"/>
                      </a:cubicBezTo>
                      <a:cubicBezTo>
                        <a:pt x="82" y="0"/>
                        <a:pt x="82" y="0"/>
                        <a:pt x="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24">
                  <a:extLst>
                    <a:ext uri="{FF2B5EF4-FFF2-40B4-BE49-F238E27FC236}">
                      <a16:creationId xmlns:a16="http://schemas.microsoft.com/office/drawing/2014/main" id="{3B95C013-6CAC-4D96-8715-A8974E20465A}"/>
                    </a:ext>
                  </a:extLst>
                </p:cNvPr>
                <p:cNvSpPr>
                  <a:spLocks/>
                </p:cNvSpPr>
                <p:nvPr/>
              </p:nvSpPr>
              <p:spPr bwMode="auto">
                <a:xfrm>
                  <a:off x="2765425" y="5410201"/>
                  <a:ext cx="250825" cy="285750"/>
                </a:xfrm>
                <a:custGeom>
                  <a:avLst/>
                  <a:gdLst>
                    <a:gd name="T0" fmla="*/ 36 w 73"/>
                    <a:gd name="T1" fmla="*/ 1 h 83"/>
                    <a:gd name="T2" fmla="*/ 73 w 73"/>
                    <a:gd name="T3" fmla="*/ 41 h 83"/>
                    <a:gd name="T4" fmla="*/ 38 w 73"/>
                    <a:gd name="T5" fmla="*/ 83 h 83"/>
                    <a:gd name="T6" fmla="*/ 0 w 73"/>
                    <a:gd name="T7" fmla="*/ 43 h 83"/>
                    <a:gd name="T8" fmla="*/ 36 w 73"/>
                    <a:gd name="T9" fmla="*/ 1 h 83"/>
                  </a:gdLst>
                  <a:ahLst/>
                  <a:cxnLst>
                    <a:cxn ang="0">
                      <a:pos x="T0" y="T1"/>
                    </a:cxn>
                    <a:cxn ang="0">
                      <a:pos x="T2" y="T3"/>
                    </a:cxn>
                    <a:cxn ang="0">
                      <a:pos x="T4" y="T5"/>
                    </a:cxn>
                    <a:cxn ang="0">
                      <a:pos x="T6" y="T7"/>
                    </a:cxn>
                    <a:cxn ang="0">
                      <a:pos x="T8" y="T9"/>
                    </a:cxn>
                  </a:cxnLst>
                  <a:rect l="0" t="0" r="r" b="b"/>
                  <a:pathLst>
                    <a:path w="73" h="83">
                      <a:moveTo>
                        <a:pt x="36" y="1"/>
                      </a:moveTo>
                      <a:cubicBezTo>
                        <a:pt x="56" y="0"/>
                        <a:pt x="72" y="18"/>
                        <a:pt x="73" y="41"/>
                      </a:cubicBezTo>
                      <a:cubicBezTo>
                        <a:pt x="73" y="64"/>
                        <a:pt x="58" y="83"/>
                        <a:pt x="38" y="83"/>
                      </a:cubicBezTo>
                      <a:cubicBezTo>
                        <a:pt x="18" y="83"/>
                        <a:pt x="1" y="65"/>
                        <a:pt x="0" y="43"/>
                      </a:cubicBezTo>
                      <a:cubicBezTo>
                        <a:pt x="0" y="20"/>
                        <a:pt x="16" y="1"/>
                        <a:pt x="3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25">
                  <a:extLst>
                    <a:ext uri="{FF2B5EF4-FFF2-40B4-BE49-F238E27FC236}">
                      <a16:creationId xmlns:a16="http://schemas.microsoft.com/office/drawing/2014/main" id="{535DE654-13A5-4E80-AB1A-FB0051D5966B}"/>
                    </a:ext>
                  </a:extLst>
                </p:cNvPr>
                <p:cNvSpPr>
                  <a:spLocks/>
                </p:cNvSpPr>
                <p:nvPr/>
              </p:nvSpPr>
              <p:spPr bwMode="auto">
                <a:xfrm>
                  <a:off x="2565400" y="2071688"/>
                  <a:ext cx="58738" cy="69850"/>
                </a:xfrm>
                <a:custGeom>
                  <a:avLst/>
                  <a:gdLst>
                    <a:gd name="T0" fmla="*/ 8 w 17"/>
                    <a:gd name="T1" fmla="*/ 0 h 20"/>
                    <a:gd name="T2" fmla="*/ 17 w 17"/>
                    <a:gd name="T3" fmla="*/ 10 h 20"/>
                    <a:gd name="T4" fmla="*/ 8 w 17"/>
                    <a:gd name="T5" fmla="*/ 20 h 20"/>
                    <a:gd name="T6" fmla="*/ 0 w 17"/>
                    <a:gd name="T7" fmla="*/ 10 h 20"/>
                    <a:gd name="T8" fmla="*/ 8 w 17"/>
                    <a:gd name="T9" fmla="*/ 0 h 20"/>
                  </a:gdLst>
                  <a:ahLst/>
                  <a:cxnLst>
                    <a:cxn ang="0">
                      <a:pos x="T0" y="T1"/>
                    </a:cxn>
                    <a:cxn ang="0">
                      <a:pos x="T2" y="T3"/>
                    </a:cxn>
                    <a:cxn ang="0">
                      <a:pos x="T4" y="T5"/>
                    </a:cxn>
                    <a:cxn ang="0">
                      <a:pos x="T6" y="T7"/>
                    </a:cxn>
                    <a:cxn ang="0">
                      <a:pos x="T8" y="T9"/>
                    </a:cxn>
                  </a:cxnLst>
                  <a:rect l="0" t="0" r="r" b="b"/>
                  <a:pathLst>
                    <a:path w="17" h="20">
                      <a:moveTo>
                        <a:pt x="8" y="0"/>
                      </a:moveTo>
                      <a:cubicBezTo>
                        <a:pt x="13" y="0"/>
                        <a:pt x="16" y="5"/>
                        <a:pt x="17" y="10"/>
                      </a:cubicBezTo>
                      <a:cubicBezTo>
                        <a:pt x="17" y="15"/>
                        <a:pt x="13" y="19"/>
                        <a:pt x="8" y="20"/>
                      </a:cubicBezTo>
                      <a:cubicBezTo>
                        <a:pt x="4" y="20"/>
                        <a:pt x="0" y="15"/>
                        <a:pt x="0" y="10"/>
                      </a:cubicBezTo>
                      <a:cubicBezTo>
                        <a:pt x="0" y="5"/>
                        <a:pt x="3"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6">
                  <a:extLst>
                    <a:ext uri="{FF2B5EF4-FFF2-40B4-BE49-F238E27FC236}">
                      <a16:creationId xmlns:a16="http://schemas.microsoft.com/office/drawing/2014/main" id="{6D8B0DDA-872B-4DDC-9097-3B6EEEF8B737}"/>
                    </a:ext>
                  </a:extLst>
                </p:cNvPr>
                <p:cNvSpPr>
                  <a:spLocks/>
                </p:cNvSpPr>
                <p:nvPr/>
              </p:nvSpPr>
              <p:spPr bwMode="auto">
                <a:xfrm>
                  <a:off x="2181225" y="3822701"/>
                  <a:ext cx="1339850" cy="1223963"/>
                </a:xfrm>
                <a:custGeom>
                  <a:avLst/>
                  <a:gdLst>
                    <a:gd name="T0" fmla="*/ 827 w 844"/>
                    <a:gd name="T1" fmla="*/ 0 h 771"/>
                    <a:gd name="T2" fmla="*/ 844 w 844"/>
                    <a:gd name="T3" fmla="*/ 752 h 771"/>
                    <a:gd name="T4" fmla="*/ 18 w 844"/>
                    <a:gd name="T5" fmla="*/ 771 h 771"/>
                    <a:gd name="T6" fmla="*/ 0 w 844"/>
                    <a:gd name="T7" fmla="*/ 19 h 771"/>
                    <a:gd name="T8" fmla="*/ 827 w 844"/>
                    <a:gd name="T9" fmla="*/ 0 h 771"/>
                    <a:gd name="T10" fmla="*/ 827 w 844"/>
                    <a:gd name="T11" fmla="*/ 0 h 771"/>
                  </a:gdLst>
                  <a:ahLst/>
                  <a:cxnLst>
                    <a:cxn ang="0">
                      <a:pos x="T0" y="T1"/>
                    </a:cxn>
                    <a:cxn ang="0">
                      <a:pos x="T2" y="T3"/>
                    </a:cxn>
                    <a:cxn ang="0">
                      <a:pos x="T4" y="T5"/>
                    </a:cxn>
                    <a:cxn ang="0">
                      <a:pos x="T6" y="T7"/>
                    </a:cxn>
                    <a:cxn ang="0">
                      <a:pos x="T8" y="T9"/>
                    </a:cxn>
                    <a:cxn ang="0">
                      <a:pos x="T10" y="T11"/>
                    </a:cxn>
                  </a:cxnLst>
                  <a:rect l="0" t="0" r="r" b="b"/>
                  <a:pathLst>
                    <a:path w="844" h="771">
                      <a:moveTo>
                        <a:pt x="827" y="0"/>
                      </a:moveTo>
                      <a:lnTo>
                        <a:pt x="844" y="752"/>
                      </a:lnTo>
                      <a:lnTo>
                        <a:pt x="18" y="771"/>
                      </a:lnTo>
                      <a:lnTo>
                        <a:pt x="0" y="19"/>
                      </a:lnTo>
                      <a:lnTo>
                        <a:pt x="827" y="0"/>
                      </a:lnTo>
                      <a:lnTo>
                        <a:pt x="8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7">
                  <a:extLst>
                    <a:ext uri="{FF2B5EF4-FFF2-40B4-BE49-F238E27FC236}">
                      <a16:creationId xmlns:a16="http://schemas.microsoft.com/office/drawing/2014/main" id="{CECDFBEA-3B90-4758-8E88-DD28BFA77C82}"/>
                    </a:ext>
                  </a:extLst>
                </p:cNvPr>
                <p:cNvSpPr>
                  <a:spLocks noEditPoints="1"/>
                </p:cNvSpPr>
                <p:nvPr/>
              </p:nvSpPr>
              <p:spPr bwMode="auto">
                <a:xfrm>
                  <a:off x="1928813" y="1824038"/>
                  <a:ext cx="1806575" cy="4030663"/>
                </a:xfrm>
                <a:custGeom>
                  <a:avLst/>
                  <a:gdLst>
                    <a:gd name="T0" fmla="*/ 269 w 523"/>
                    <a:gd name="T1" fmla="*/ 36 h 1168"/>
                    <a:gd name="T2" fmla="*/ 262 w 523"/>
                    <a:gd name="T3" fmla="*/ 44 h 1168"/>
                    <a:gd name="T4" fmla="*/ 270 w 523"/>
                    <a:gd name="T5" fmla="*/ 52 h 1168"/>
                    <a:gd name="T6" fmla="*/ 277 w 523"/>
                    <a:gd name="T7" fmla="*/ 44 h 1168"/>
                    <a:gd name="T8" fmla="*/ 269 w 523"/>
                    <a:gd name="T9" fmla="*/ 36 h 1168"/>
                    <a:gd name="T10" fmla="*/ 192 w 523"/>
                    <a:gd name="T11" fmla="*/ 72 h 1168"/>
                    <a:gd name="T12" fmla="*/ 184 w 523"/>
                    <a:gd name="T13" fmla="*/ 82 h 1168"/>
                    <a:gd name="T14" fmla="*/ 192 w 523"/>
                    <a:gd name="T15" fmla="*/ 92 h 1168"/>
                    <a:gd name="T16" fmla="*/ 201 w 523"/>
                    <a:gd name="T17" fmla="*/ 82 h 1168"/>
                    <a:gd name="T18" fmla="*/ 192 w 523"/>
                    <a:gd name="T19" fmla="*/ 72 h 1168"/>
                    <a:gd name="T20" fmla="*/ 232 w 523"/>
                    <a:gd name="T21" fmla="*/ 76 h 1168"/>
                    <a:gd name="T22" fmla="*/ 227 w 523"/>
                    <a:gd name="T23" fmla="*/ 82 h 1168"/>
                    <a:gd name="T24" fmla="*/ 232 w 523"/>
                    <a:gd name="T25" fmla="*/ 87 h 1168"/>
                    <a:gd name="T26" fmla="*/ 310 w 523"/>
                    <a:gd name="T27" fmla="*/ 85 h 1168"/>
                    <a:gd name="T28" fmla="*/ 314 w 523"/>
                    <a:gd name="T29" fmla="*/ 80 h 1168"/>
                    <a:gd name="T30" fmla="*/ 309 w 523"/>
                    <a:gd name="T31" fmla="*/ 75 h 1168"/>
                    <a:gd name="T32" fmla="*/ 232 w 523"/>
                    <a:gd name="T33" fmla="*/ 76 h 1168"/>
                    <a:gd name="T34" fmla="*/ 280 w 523"/>
                    <a:gd name="T35" fmla="*/ 1125 h 1168"/>
                    <a:gd name="T36" fmla="*/ 318 w 523"/>
                    <a:gd name="T37" fmla="*/ 1080 h 1168"/>
                    <a:gd name="T38" fmla="*/ 277 w 523"/>
                    <a:gd name="T39" fmla="*/ 1037 h 1168"/>
                    <a:gd name="T40" fmla="*/ 240 w 523"/>
                    <a:gd name="T41" fmla="*/ 1082 h 1168"/>
                    <a:gd name="T42" fmla="*/ 280 w 523"/>
                    <a:gd name="T43" fmla="*/ 1125 h 1168"/>
                    <a:gd name="T44" fmla="*/ 492 w 523"/>
                    <a:gd name="T45" fmla="*/ 1012 h 1168"/>
                    <a:gd name="T46" fmla="*/ 470 w 523"/>
                    <a:gd name="T47" fmla="*/ 131 h 1168"/>
                    <a:gd name="T48" fmla="*/ 31 w 523"/>
                    <a:gd name="T49" fmla="*/ 141 h 1168"/>
                    <a:gd name="T50" fmla="*/ 53 w 523"/>
                    <a:gd name="T51" fmla="*/ 1022 h 1168"/>
                    <a:gd name="T52" fmla="*/ 492 w 523"/>
                    <a:gd name="T53" fmla="*/ 1012 h 1168"/>
                    <a:gd name="T54" fmla="*/ 414 w 523"/>
                    <a:gd name="T55" fmla="*/ 1 h 1168"/>
                    <a:gd name="T56" fmla="*/ 498 w 523"/>
                    <a:gd name="T57" fmla="*/ 91 h 1168"/>
                    <a:gd name="T58" fmla="*/ 522 w 523"/>
                    <a:gd name="T59" fmla="*/ 1066 h 1168"/>
                    <a:gd name="T60" fmla="*/ 443 w 523"/>
                    <a:gd name="T61" fmla="*/ 1159 h 1168"/>
                    <a:gd name="T62" fmla="*/ 108 w 523"/>
                    <a:gd name="T63" fmla="*/ 1167 h 1168"/>
                    <a:gd name="T64" fmla="*/ 25 w 523"/>
                    <a:gd name="T65" fmla="*/ 1077 h 1168"/>
                    <a:gd name="T66" fmla="*/ 1 w 523"/>
                    <a:gd name="T67" fmla="*/ 102 h 1168"/>
                    <a:gd name="T68" fmla="*/ 80 w 523"/>
                    <a:gd name="T69" fmla="*/ 8 h 1168"/>
                    <a:gd name="T70" fmla="*/ 414 w 523"/>
                    <a:gd name="T71" fmla="*/ 1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3" h="1168">
                      <a:moveTo>
                        <a:pt x="269" y="36"/>
                      </a:moveTo>
                      <a:cubicBezTo>
                        <a:pt x="265" y="36"/>
                        <a:pt x="262" y="40"/>
                        <a:pt x="262" y="44"/>
                      </a:cubicBezTo>
                      <a:cubicBezTo>
                        <a:pt x="263" y="49"/>
                        <a:pt x="266" y="52"/>
                        <a:pt x="270" y="52"/>
                      </a:cubicBezTo>
                      <a:cubicBezTo>
                        <a:pt x="274" y="52"/>
                        <a:pt x="277" y="48"/>
                        <a:pt x="277" y="44"/>
                      </a:cubicBezTo>
                      <a:cubicBezTo>
                        <a:pt x="277" y="39"/>
                        <a:pt x="273" y="36"/>
                        <a:pt x="269" y="36"/>
                      </a:cubicBezTo>
                      <a:moveTo>
                        <a:pt x="192" y="72"/>
                      </a:moveTo>
                      <a:cubicBezTo>
                        <a:pt x="187" y="73"/>
                        <a:pt x="184" y="77"/>
                        <a:pt x="184" y="82"/>
                      </a:cubicBezTo>
                      <a:cubicBezTo>
                        <a:pt x="184" y="87"/>
                        <a:pt x="188" y="92"/>
                        <a:pt x="192" y="92"/>
                      </a:cubicBezTo>
                      <a:cubicBezTo>
                        <a:pt x="197" y="91"/>
                        <a:pt x="201" y="87"/>
                        <a:pt x="201" y="82"/>
                      </a:cubicBezTo>
                      <a:cubicBezTo>
                        <a:pt x="200" y="77"/>
                        <a:pt x="197" y="72"/>
                        <a:pt x="192" y="72"/>
                      </a:cubicBezTo>
                      <a:moveTo>
                        <a:pt x="232" y="76"/>
                      </a:moveTo>
                      <a:cubicBezTo>
                        <a:pt x="229" y="76"/>
                        <a:pt x="227" y="79"/>
                        <a:pt x="227" y="82"/>
                      </a:cubicBezTo>
                      <a:cubicBezTo>
                        <a:pt x="227" y="84"/>
                        <a:pt x="229" y="87"/>
                        <a:pt x="232" y="87"/>
                      </a:cubicBezTo>
                      <a:cubicBezTo>
                        <a:pt x="310" y="85"/>
                        <a:pt x="310" y="85"/>
                        <a:pt x="310" y="85"/>
                      </a:cubicBezTo>
                      <a:cubicBezTo>
                        <a:pt x="312" y="85"/>
                        <a:pt x="314" y="82"/>
                        <a:pt x="314" y="80"/>
                      </a:cubicBezTo>
                      <a:cubicBezTo>
                        <a:pt x="314" y="77"/>
                        <a:pt x="312" y="75"/>
                        <a:pt x="309" y="75"/>
                      </a:cubicBezTo>
                      <a:cubicBezTo>
                        <a:pt x="232" y="76"/>
                        <a:pt x="232" y="76"/>
                        <a:pt x="232" y="76"/>
                      </a:cubicBezTo>
                      <a:moveTo>
                        <a:pt x="280" y="1125"/>
                      </a:moveTo>
                      <a:cubicBezTo>
                        <a:pt x="301" y="1125"/>
                        <a:pt x="318" y="1104"/>
                        <a:pt x="318" y="1080"/>
                      </a:cubicBezTo>
                      <a:cubicBezTo>
                        <a:pt x="317" y="1056"/>
                        <a:pt x="299" y="1036"/>
                        <a:pt x="277" y="1037"/>
                      </a:cubicBezTo>
                      <a:cubicBezTo>
                        <a:pt x="256" y="1037"/>
                        <a:pt x="239" y="1058"/>
                        <a:pt x="240" y="1082"/>
                      </a:cubicBezTo>
                      <a:cubicBezTo>
                        <a:pt x="240" y="1106"/>
                        <a:pt x="258" y="1126"/>
                        <a:pt x="280" y="1125"/>
                      </a:cubicBezTo>
                      <a:moveTo>
                        <a:pt x="492" y="1012"/>
                      </a:moveTo>
                      <a:cubicBezTo>
                        <a:pt x="470" y="131"/>
                        <a:pt x="470" y="131"/>
                        <a:pt x="470" y="131"/>
                      </a:cubicBezTo>
                      <a:cubicBezTo>
                        <a:pt x="31" y="141"/>
                        <a:pt x="31" y="141"/>
                        <a:pt x="31" y="141"/>
                      </a:cubicBezTo>
                      <a:cubicBezTo>
                        <a:pt x="53" y="1022"/>
                        <a:pt x="53" y="1022"/>
                        <a:pt x="53" y="1022"/>
                      </a:cubicBezTo>
                      <a:cubicBezTo>
                        <a:pt x="492" y="1012"/>
                        <a:pt x="492" y="1012"/>
                        <a:pt x="492" y="1012"/>
                      </a:cubicBezTo>
                      <a:moveTo>
                        <a:pt x="414" y="1"/>
                      </a:moveTo>
                      <a:cubicBezTo>
                        <a:pt x="459" y="0"/>
                        <a:pt x="496" y="40"/>
                        <a:pt x="498" y="91"/>
                      </a:cubicBezTo>
                      <a:cubicBezTo>
                        <a:pt x="522" y="1066"/>
                        <a:pt x="522" y="1066"/>
                        <a:pt x="522" y="1066"/>
                      </a:cubicBezTo>
                      <a:cubicBezTo>
                        <a:pt x="523" y="1116"/>
                        <a:pt x="488" y="1158"/>
                        <a:pt x="443" y="1159"/>
                      </a:cubicBezTo>
                      <a:cubicBezTo>
                        <a:pt x="108" y="1167"/>
                        <a:pt x="108" y="1167"/>
                        <a:pt x="108" y="1167"/>
                      </a:cubicBezTo>
                      <a:cubicBezTo>
                        <a:pt x="64" y="1168"/>
                        <a:pt x="26" y="1128"/>
                        <a:pt x="25" y="1077"/>
                      </a:cubicBezTo>
                      <a:cubicBezTo>
                        <a:pt x="1" y="102"/>
                        <a:pt x="1" y="102"/>
                        <a:pt x="1" y="102"/>
                      </a:cubicBezTo>
                      <a:cubicBezTo>
                        <a:pt x="0" y="51"/>
                        <a:pt x="35" y="9"/>
                        <a:pt x="80" y="8"/>
                      </a:cubicBezTo>
                      <a:cubicBezTo>
                        <a:pt x="414" y="1"/>
                        <a:pt x="414" y="1"/>
                        <a:pt x="414"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28">
                  <a:extLst>
                    <a:ext uri="{FF2B5EF4-FFF2-40B4-BE49-F238E27FC236}">
                      <a16:creationId xmlns:a16="http://schemas.microsoft.com/office/drawing/2014/main" id="{60C31F36-495C-461D-97D1-0863B6B9655D}"/>
                    </a:ext>
                  </a:extLst>
                </p:cNvPr>
                <p:cNvSpPr>
                  <a:spLocks/>
                </p:cNvSpPr>
                <p:nvPr/>
              </p:nvSpPr>
              <p:spPr bwMode="auto">
                <a:xfrm>
                  <a:off x="2166938" y="3352801"/>
                  <a:ext cx="1333500" cy="138113"/>
                </a:xfrm>
                <a:custGeom>
                  <a:avLst/>
                  <a:gdLst>
                    <a:gd name="T0" fmla="*/ 840 w 840"/>
                    <a:gd name="T1" fmla="*/ 0 h 87"/>
                    <a:gd name="T2" fmla="*/ 840 w 840"/>
                    <a:gd name="T3" fmla="*/ 69 h 87"/>
                    <a:gd name="T4" fmla="*/ 3 w 840"/>
                    <a:gd name="T5" fmla="*/ 87 h 87"/>
                    <a:gd name="T6" fmla="*/ 0 w 840"/>
                    <a:gd name="T7" fmla="*/ 19 h 87"/>
                    <a:gd name="T8" fmla="*/ 840 w 840"/>
                    <a:gd name="T9" fmla="*/ 0 h 87"/>
                    <a:gd name="T10" fmla="*/ 840 w 840"/>
                    <a:gd name="T11" fmla="*/ 0 h 87"/>
                  </a:gdLst>
                  <a:ahLst/>
                  <a:cxnLst>
                    <a:cxn ang="0">
                      <a:pos x="T0" y="T1"/>
                    </a:cxn>
                    <a:cxn ang="0">
                      <a:pos x="T2" y="T3"/>
                    </a:cxn>
                    <a:cxn ang="0">
                      <a:pos x="T4" y="T5"/>
                    </a:cxn>
                    <a:cxn ang="0">
                      <a:pos x="T6" y="T7"/>
                    </a:cxn>
                    <a:cxn ang="0">
                      <a:pos x="T8" y="T9"/>
                    </a:cxn>
                    <a:cxn ang="0">
                      <a:pos x="T10" y="T11"/>
                    </a:cxn>
                  </a:cxnLst>
                  <a:rect l="0" t="0" r="r" b="b"/>
                  <a:pathLst>
                    <a:path w="840" h="87">
                      <a:moveTo>
                        <a:pt x="840" y="0"/>
                      </a:moveTo>
                      <a:lnTo>
                        <a:pt x="840" y="69"/>
                      </a:lnTo>
                      <a:lnTo>
                        <a:pt x="3" y="87"/>
                      </a:lnTo>
                      <a:lnTo>
                        <a:pt x="0" y="19"/>
                      </a:lnTo>
                      <a:lnTo>
                        <a:pt x="840" y="0"/>
                      </a:lnTo>
                      <a:lnTo>
                        <a:pt x="8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9">
                  <a:extLst>
                    <a:ext uri="{FF2B5EF4-FFF2-40B4-BE49-F238E27FC236}">
                      <a16:creationId xmlns:a16="http://schemas.microsoft.com/office/drawing/2014/main" id="{5F5D7F5F-8D0C-4878-9150-520F31F7DF27}"/>
                    </a:ext>
                  </a:extLst>
                </p:cNvPr>
                <p:cNvSpPr>
                  <a:spLocks/>
                </p:cNvSpPr>
                <p:nvPr/>
              </p:nvSpPr>
              <p:spPr bwMode="auto">
                <a:xfrm>
                  <a:off x="2174875" y="3552826"/>
                  <a:ext cx="1331913" cy="138113"/>
                </a:xfrm>
                <a:custGeom>
                  <a:avLst/>
                  <a:gdLst>
                    <a:gd name="T0" fmla="*/ 837 w 839"/>
                    <a:gd name="T1" fmla="*/ 0 h 87"/>
                    <a:gd name="T2" fmla="*/ 839 w 839"/>
                    <a:gd name="T3" fmla="*/ 67 h 87"/>
                    <a:gd name="T4" fmla="*/ 2 w 839"/>
                    <a:gd name="T5" fmla="*/ 87 h 87"/>
                    <a:gd name="T6" fmla="*/ 0 w 839"/>
                    <a:gd name="T7" fmla="*/ 20 h 87"/>
                    <a:gd name="T8" fmla="*/ 837 w 839"/>
                    <a:gd name="T9" fmla="*/ 0 h 87"/>
                    <a:gd name="T10" fmla="*/ 837 w 839"/>
                    <a:gd name="T11" fmla="*/ 0 h 87"/>
                  </a:gdLst>
                  <a:ahLst/>
                  <a:cxnLst>
                    <a:cxn ang="0">
                      <a:pos x="T0" y="T1"/>
                    </a:cxn>
                    <a:cxn ang="0">
                      <a:pos x="T2" y="T3"/>
                    </a:cxn>
                    <a:cxn ang="0">
                      <a:pos x="T4" y="T5"/>
                    </a:cxn>
                    <a:cxn ang="0">
                      <a:pos x="T6" y="T7"/>
                    </a:cxn>
                    <a:cxn ang="0">
                      <a:pos x="T8" y="T9"/>
                    </a:cxn>
                    <a:cxn ang="0">
                      <a:pos x="T10" y="T11"/>
                    </a:cxn>
                  </a:cxnLst>
                  <a:rect l="0" t="0" r="r" b="b"/>
                  <a:pathLst>
                    <a:path w="839" h="87">
                      <a:moveTo>
                        <a:pt x="837" y="0"/>
                      </a:moveTo>
                      <a:lnTo>
                        <a:pt x="839" y="67"/>
                      </a:lnTo>
                      <a:lnTo>
                        <a:pt x="2" y="87"/>
                      </a:lnTo>
                      <a:lnTo>
                        <a:pt x="0" y="20"/>
                      </a:lnTo>
                      <a:lnTo>
                        <a:pt x="837" y="0"/>
                      </a:lnTo>
                      <a:lnTo>
                        <a:pt x="8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31">
                  <a:extLst>
                    <a:ext uri="{FF2B5EF4-FFF2-40B4-BE49-F238E27FC236}">
                      <a16:creationId xmlns:a16="http://schemas.microsoft.com/office/drawing/2014/main" id="{518B2B4F-9BF6-4606-8AEF-E30671017563}"/>
                    </a:ext>
                  </a:extLst>
                </p:cNvPr>
                <p:cNvSpPr>
                  <a:spLocks/>
                </p:cNvSpPr>
                <p:nvPr/>
              </p:nvSpPr>
              <p:spPr bwMode="auto">
                <a:xfrm>
                  <a:off x="3741738" y="3297238"/>
                  <a:ext cx="855663" cy="842963"/>
                </a:xfrm>
                <a:custGeom>
                  <a:avLst/>
                  <a:gdLst>
                    <a:gd name="T0" fmla="*/ 248 w 248"/>
                    <a:gd name="T1" fmla="*/ 244 h 244"/>
                    <a:gd name="T2" fmla="*/ 232 w 248"/>
                    <a:gd name="T3" fmla="*/ 128 h 244"/>
                    <a:gd name="T4" fmla="*/ 99 w 248"/>
                    <a:gd name="T5" fmla="*/ 70 h 244"/>
                    <a:gd name="T6" fmla="*/ 50 w 248"/>
                    <a:gd name="T7" fmla="*/ 0 h 244"/>
                    <a:gd name="T8" fmla="*/ 0 w 248"/>
                    <a:gd name="T9" fmla="*/ 38 h 244"/>
                    <a:gd name="T10" fmla="*/ 159 w 248"/>
                    <a:gd name="T11" fmla="*/ 225 h 244"/>
                  </a:gdLst>
                  <a:ahLst/>
                  <a:cxnLst>
                    <a:cxn ang="0">
                      <a:pos x="T0" y="T1"/>
                    </a:cxn>
                    <a:cxn ang="0">
                      <a:pos x="T2" y="T3"/>
                    </a:cxn>
                    <a:cxn ang="0">
                      <a:pos x="T4" y="T5"/>
                    </a:cxn>
                    <a:cxn ang="0">
                      <a:pos x="T6" y="T7"/>
                    </a:cxn>
                    <a:cxn ang="0">
                      <a:pos x="T8" y="T9"/>
                    </a:cxn>
                    <a:cxn ang="0">
                      <a:pos x="T10" y="T11"/>
                    </a:cxn>
                  </a:cxnLst>
                  <a:rect l="0" t="0" r="r" b="b"/>
                  <a:pathLst>
                    <a:path w="248" h="244">
                      <a:moveTo>
                        <a:pt x="248" y="244"/>
                      </a:moveTo>
                      <a:cubicBezTo>
                        <a:pt x="232" y="128"/>
                        <a:pt x="232" y="128"/>
                        <a:pt x="232" y="128"/>
                      </a:cubicBezTo>
                      <a:cubicBezTo>
                        <a:pt x="232" y="128"/>
                        <a:pt x="131" y="111"/>
                        <a:pt x="99" y="70"/>
                      </a:cubicBezTo>
                      <a:cubicBezTo>
                        <a:pt x="68" y="32"/>
                        <a:pt x="50" y="0"/>
                        <a:pt x="50" y="0"/>
                      </a:cubicBezTo>
                      <a:cubicBezTo>
                        <a:pt x="0" y="38"/>
                        <a:pt x="0" y="38"/>
                        <a:pt x="0" y="38"/>
                      </a:cubicBezTo>
                      <a:cubicBezTo>
                        <a:pt x="0" y="38"/>
                        <a:pt x="54" y="174"/>
                        <a:pt x="159" y="22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32">
                  <a:extLst>
                    <a:ext uri="{FF2B5EF4-FFF2-40B4-BE49-F238E27FC236}">
                      <a16:creationId xmlns:a16="http://schemas.microsoft.com/office/drawing/2014/main" id="{65575DB5-3421-4433-BF8D-179F1970A43B}"/>
                    </a:ext>
                  </a:extLst>
                </p:cNvPr>
                <p:cNvSpPr>
                  <a:spLocks/>
                </p:cNvSpPr>
                <p:nvPr/>
              </p:nvSpPr>
              <p:spPr bwMode="auto">
                <a:xfrm>
                  <a:off x="3244850" y="2894013"/>
                  <a:ext cx="573088" cy="865188"/>
                </a:xfrm>
                <a:custGeom>
                  <a:avLst/>
                  <a:gdLst>
                    <a:gd name="T0" fmla="*/ 139 w 166"/>
                    <a:gd name="T1" fmla="*/ 0 h 251"/>
                    <a:gd name="T2" fmla="*/ 133 w 166"/>
                    <a:gd name="T3" fmla="*/ 0 h 251"/>
                    <a:gd name="T4" fmla="*/ 24 w 166"/>
                    <a:gd name="T5" fmla="*/ 23 h 251"/>
                    <a:gd name="T6" fmla="*/ 19 w 166"/>
                    <a:gd name="T7" fmla="*/ 25 h 251"/>
                    <a:gd name="T8" fmla="*/ 15 w 166"/>
                    <a:gd name="T9" fmla="*/ 28 h 251"/>
                    <a:gd name="T10" fmla="*/ 12 w 166"/>
                    <a:gd name="T11" fmla="*/ 32 h 251"/>
                    <a:gd name="T12" fmla="*/ 7 w 166"/>
                    <a:gd name="T13" fmla="*/ 38 h 251"/>
                    <a:gd name="T14" fmla="*/ 5 w 166"/>
                    <a:gd name="T15" fmla="*/ 42 h 251"/>
                    <a:gd name="T16" fmla="*/ 3 w 166"/>
                    <a:gd name="T17" fmla="*/ 46 h 251"/>
                    <a:gd name="T18" fmla="*/ 1 w 166"/>
                    <a:gd name="T19" fmla="*/ 53 h 251"/>
                    <a:gd name="T20" fmla="*/ 0 w 166"/>
                    <a:gd name="T21" fmla="*/ 59 h 251"/>
                    <a:gd name="T22" fmla="*/ 0 w 166"/>
                    <a:gd name="T23" fmla="*/ 65 h 251"/>
                    <a:gd name="T24" fmla="*/ 10 w 166"/>
                    <a:gd name="T25" fmla="*/ 219 h 251"/>
                    <a:gd name="T26" fmla="*/ 10 w 166"/>
                    <a:gd name="T27" fmla="*/ 222 h 251"/>
                    <a:gd name="T28" fmla="*/ 11 w 166"/>
                    <a:gd name="T29" fmla="*/ 227 h 251"/>
                    <a:gd name="T30" fmla="*/ 13 w 166"/>
                    <a:gd name="T31" fmla="*/ 231 h 251"/>
                    <a:gd name="T32" fmla="*/ 15 w 166"/>
                    <a:gd name="T33" fmla="*/ 236 h 251"/>
                    <a:gd name="T34" fmla="*/ 17 w 166"/>
                    <a:gd name="T35" fmla="*/ 239 h 251"/>
                    <a:gd name="T36" fmla="*/ 20 w 166"/>
                    <a:gd name="T37" fmla="*/ 242 h 251"/>
                    <a:gd name="T38" fmla="*/ 23 w 166"/>
                    <a:gd name="T39" fmla="*/ 244 h 251"/>
                    <a:gd name="T40" fmla="*/ 26 w 166"/>
                    <a:gd name="T41" fmla="*/ 246 h 251"/>
                    <a:gd name="T42" fmla="*/ 29 w 166"/>
                    <a:gd name="T43" fmla="*/ 248 h 251"/>
                    <a:gd name="T44" fmla="*/ 34 w 166"/>
                    <a:gd name="T45" fmla="*/ 249 h 251"/>
                    <a:gd name="T46" fmla="*/ 58 w 166"/>
                    <a:gd name="T47" fmla="*/ 251 h 251"/>
                    <a:gd name="T48" fmla="*/ 55 w 166"/>
                    <a:gd name="T49" fmla="*/ 250 h 251"/>
                    <a:gd name="T50" fmla="*/ 52 w 166"/>
                    <a:gd name="T51" fmla="*/ 248 h 251"/>
                    <a:gd name="T52" fmla="*/ 49 w 166"/>
                    <a:gd name="T53" fmla="*/ 246 h 251"/>
                    <a:gd name="T54" fmla="*/ 46 w 166"/>
                    <a:gd name="T55" fmla="*/ 244 h 251"/>
                    <a:gd name="T56" fmla="*/ 44 w 166"/>
                    <a:gd name="T57" fmla="*/ 241 h 251"/>
                    <a:gd name="T58" fmla="*/ 41 w 166"/>
                    <a:gd name="T59" fmla="*/ 237 h 251"/>
                    <a:gd name="T60" fmla="*/ 40 w 166"/>
                    <a:gd name="T61" fmla="*/ 233 h 251"/>
                    <a:gd name="T62" fmla="*/ 38 w 166"/>
                    <a:gd name="T63" fmla="*/ 228 h 251"/>
                    <a:gd name="T64" fmla="*/ 37 w 166"/>
                    <a:gd name="T65" fmla="*/ 224 h 251"/>
                    <a:gd name="T66" fmla="*/ 27 w 166"/>
                    <a:gd name="T67" fmla="*/ 71 h 251"/>
                    <a:gd name="T68" fmla="*/ 28 w 166"/>
                    <a:gd name="T69" fmla="*/ 61 h 251"/>
                    <a:gd name="T70" fmla="*/ 30 w 166"/>
                    <a:gd name="T71" fmla="*/ 49 h 251"/>
                    <a:gd name="T72" fmla="*/ 32 w 166"/>
                    <a:gd name="T73" fmla="*/ 44 h 251"/>
                    <a:gd name="T74" fmla="*/ 36 w 166"/>
                    <a:gd name="T75" fmla="*/ 37 h 251"/>
                    <a:gd name="T76" fmla="*/ 40 w 166"/>
                    <a:gd name="T77" fmla="*/ 33 h 251"/>
                    <a:gd name="T78" fmla="*/ 45 w 166"/>
                    <a:gd name="T79" fmla="*/ 29 h 251"/>
                    <a:gd name="T80" fmla="*/ 49 w 166"/>
                    <a:gd name="T81" fmla="*/ 26 h 251"/>
                    <a:gd name="T82" fmla="*/ 160 w 166"/>
                    <a:gd name="T83" fmla="*/ 3 h 251"/>
                    <a:gd name="T84" fmla="*/ 166 w 166"/>
                    <a:gd name="T85" fmla="*/ 2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6" h="251">
                      <a:moveTo>
                        <a:pt x="166" y="2"/>
                      </a:moveTo>
                      <a:cubicBezTo>
                        <a:pt x="166" y="2"/>
                        <a:pt x="166" y="2"/>
                        <a:pt x="166" y="2"/>
                      </a:cubicBezTo>
                      <a:cubicBezTo>
                        <a:pt x="139" y="0"/>
                        <a:pt x="139" y="0"/>
                        <a:pt x="139" y="0"/>
                      </a:cubicBezTo>
                      <a:cubicBezTo>
                        <a:pt x="138" y="0"/>
                        <a:pt x="137" y="0"/>
                        <a:pt x="137" y="0"/>
                      </a:cubicBezTo>
                      <a:cubicBezTo>
                        <a:pt x="136" y="0"/>
                        <a:pt x="136" y="0"/>
                        <a:pt x="136" y="0"/>
                      </a:cubicBezTo>
                      <a:cubicBezTo>
                        <a:pt x="135" y="0"/>
                        <a:pt x="134" y="0"/>
                        <a:pt x="133" y="0"/>
                      </a:cubicBezTo>
                      <a:cubicBezTo>
                        <a:pt x="26" y="22"/>
                        <a:pt x="26" y="22"/>
                        <a:pt x="26" y="22"/>
                      </a:cubicBezTo>
                      <a:cubicBezTo>
                        <a:pt x="26" y="23"/>
                        <a:pt x="25" y="23"/>
                        <a:pt x="25" y="23"/>
                      </a:cubicBezTo>
                      <a:cubicBezTo>
                        <a:pt x="24" y="23"/>
                        <a:pt x="24" y="23"/>
                        <a:pt x="24" y="23"/>
                      </a:cubicBezTo>
                      <a:cubicBezTo>
                        <a:pt x="24" y="23"/>
                        <a:pt x="23" y="23"/>
                        <a:pt x="22" y="24"/>
                      </a:cubicBezTo>
                      <a:cubicBezTo>
                        <a:pt x="22" y="24"/>
                        <a:pt x="22" y="24"/>
                        <a:pt x="21" y="24"/>
                      </a:cubicBezTo>
                      <a:cubicBezTo>
                        <a:pt x="21" y="25"/>
                        <a:pt x="20" y="25"/>
                        <a:pt x="19" y="25"/>
                      </a:cubicBezTo>
                      <a:cubicBezTo>
                        <a:pt x="19" y="26"/>
                        <a:pt x="19" y="26"/>
                        <a:pt x="19" y="26"/>
                      </a:cubicBezTo>
                      <a:cubicBezTo>
                        <a:pt x="18" y="26"/>
                        <a:pt x="18" y="26"/>
                        <a:pt x="18" y="26"/>
                      </a:cubicBezTo>
                      <a:cubicBezTo>
                        <a:pt x="17" y="26"/>
                        <a:pt x="16" y="27"/>
                        <a:pt x="15" y="28"/>
                      </a:cubicBezTo>
                      <a:cubicBezTo>
                        <a:pt x="15" y="28"/>
                        <a:pt x="15" y="28"/>
                        <a:pt x="15" y="28"/>
                      </a:cubicBezTo>
                      <a:cubicBezTo>
                        <a:pt x="14" y="29"/>
                        <a:pt x="13" y="30"/>
                        <a:pt x="13" y="31"/>
                      </a:cubicBezTo>
                      <a:cubicBezTo>
                        <a:pt x="12" y="32"/>
                        <a:pt x="12" y="32"/>
                        <a:pt x="12" y="32"/>
                      </a:cubicBezTo>
                      <a:cubicBezTo>
                        <a:pt x="11" y="32"/>
                        <a:pt x="11" y="33"/>
                        <a:pt x="10" y="34"/>
                      </a:cubicBezTo>
                      <a:cubicBezTo>
                        <a:pt x="9" y="35"/>
                        <a:pt x="9" y="35"/>
                        <a:pt x="9" y="35"/>
                      </a:cubicBezTo>
                      <a:cubicBezTo>
                        <a:pt x="9" y="36"/>
                        <a:pt x="8" y="37"/>
                        <a:pt x="7" y="38"/>
                      </a:cubicBezTo>
                      <a:cubicBezTo>
                        <a:pt x="7" y="38"/>
                        <a:pt x="7" y="38"/>
                        <a:pt x="7" y="38"/>
                      </a:cubicBezTo>
                      <a:cubicBezTo>
                        <a:pt x="7" y="38"/>
                        <a:pt x="7" y="38"/>
                        <a:pt x="7" y="38"/>
                      </a:cubicBezTo>
                      <a:cubicBezTo>
                        <a:pt x="6" y="39"/>
                        <a:pt x="6" y="41"/>
                        <a:pt x="5" y="42"/>
                      </a:cubicBezTo>
                      <a:cubicBezTo>
                        <a:pt x="5" y="43"/>
                        <a:pt x="5" y="43"/>
                        <a:pt x="5" y="43"/>
                      </a:cubicBezTo>
                      <a:cubicBezTo>
                        <a:pt x="4" y="44"/>
                        <a:pt x="4" y="45"/>
                        <a:pt x="3" y="46"/>
                      </a:cubicBezTo>
                      <a:cubicBezTo>
                        <a:pt x="3" y="46"/>
                        <a:pt x="3" y="46"/>
                        <a:pt x="3" y="46"/>
                      </a:cubicBezTo>
                      <a:cubicBezTo>
                        <a:pt x="3" y="47"/>
                        <a:pt x="3" y="47"/>
                        <a:pt x="3" y="47"/>
                      </a:cubicBezTo>
                      <a:cubicBezTo>
                        <a:pt x="2" y="49"/>
                        <a:pt x="2" y="51"/>
                        <a:pt x="1" y="53"/>
                      </a:cubicBezTo>
                      <a:cubicBezTo>
                        <a:pt x="1" y="53"/>
                        <a:pt x="1" y="53"/>
                        <a:pt x="1" y="53"/>
                      </a:cubicBezTo>
                      <a:cubicBezTo>
                        <a:pt x="1" y="53"/>
                        <a:pt x="1" y="53"/>
                        <a:pt x="1" y="53"/>
                      </a:cubicBezTo>
                      <a:cubicBezTo>
                        <a:pt x="1" y="55"/>
                        <a:pt x="1" y="57"/>
                        <a:pt x="0" y="58"/>
                      </a:cubicBezTo>
                      <a:cubicBezTo>
                        <a:pt x="0" y="59"/>
                        <a:pt x="0" y="59"/>
                        <a:pt x="0" y="59"/>
                      </a:cubicBezTo>
                      <a:cubicBezTo>
                        <a:pt x="0" y="59"/>
                        <a:pt x="0" y="59"/>
                        <a:pt x="0" y="59"/>
                      </a:cubicBezTo>
                      <a:cubicBezTo>
                        <a:pt x="0" y="61"/>
                        <a:pt x="0" y="63"/>
                        <a:pt x="0" y="65"/>
                      </a:cubicBezTo>
                      <a:cubicBezTo>
                        <a:pt x="0" y="65"/>
                        <a:pt x="0" y="65"/>
                        <a:pt x="0" y="65"/>
                      </a:cubicBezTo>
                      <a:cubicBezTo>
                        <a:pt x="0" y="66"/>
                        <a:pt x="0" y="67"/>
                        <a:pt x="0" y="68"/>
                      </a:cubicBezTo>
                      <a:cubicBezTo>
                        <a:pt x="9" y="215"/>
                        <a:pt x="9" y="215"/>
                        <a:pt x="9" y="215"/>
                      </a:cubicBezTo>
                      <a:cubicBezTo>
                        <a:pt x="9" y="216"/>
                        <a:pt x="9" y="218"/>
                        <a:pt x="10" y="219"/>
                      </a:cubicBezTo>
                      <a:cubicBezTo>
                        <a:pt x="10" y="220"/>
                        <a:pt x="10" y="220"/>
                        <a:pt x="10" y="220"/>
                      </a:cubicBezTo>
                      <a:cubicBezTo>
                        <a:pt x="10" y="220"/>
                        <a:pt x="10" y="220"/>
                        <a:pt x="10" y="221"/>
                      </a:cubicBezTo>
                      <a:cubicBezTo>
                        <a:pt x="10" y="221"/>
                        <a:pt x="10" y="222"/>
                        <a:pt x="10" y="222"/>
                      </a:cubicBezTo>
                      <a:cubicBezTo>
                        <a:pt x="10" y="223"/>
                        <a:pt x="10" y="223"/>
                        <a:pt x="10" y="224"/>
                      </a:cubicBezTo>
                      <a:cubicBezTo>
                        <a:pt x="11" y="224"/>
                        <a:pt x="11" y="225"/>
                        <a:pt x="11" y="225"/>
                      </a:cubicBezTo>
                      <a:cubicBezTo>
                        <a:pt x="11" y="226"/>
                        <a:pt x="11" y="226"/>
                        <a:pt x="11" y="227"/>
                      </a:cubicBezTo>
                      <a:cubicBezTo>
                        <a:pt x="12" y="228"/>
                        <a:pt x="12" y="228"/>
                        <a:pt x="12" y="228"/>
                      </a:cubicBezTo>
                      <a:cubicBezTo>
                        <a:pt x="12" y="229"/>
                        <a:pt x="12" y="229"/>
                        <a:pt x="12" y="230"/>
                      </a:cubicBezTo>
                      <a:cubicBezTo>
                        <a:pt x="13" y="231"/>
                        <a:pt x="13" y="231"/>
                        <a:pt x="13" y="231"/>
                      </a:cubicBezTo>
                      <a:cubicBezTo>
                        <a:pt x="13" y="232"/>
                        <a:pt x="14" y="233"/>
                        <a:pt x="14" y="233"/>
                      </a:cubicBezTo>
                      <a:cubicBezTo>
                        <a:pt x="14" y="234"/>
                        <a:pt x="14" y="234"/>
                        <a:pt x="14" y="234"/>
                      </a:cubicBezTo>
                      <a:cubicBezTo>
                        <a:pt x="15" y="235"/>
                        <a:pt x="15" y="235"/>
                        <a:pt x="15" y="236"/>
                      </a:cubicBezTo>
                      <a:cubicBezTo>
                        <a:pt x="16" y="237"/>
                        <a:pt x="16" y="237"/>
                        <a:pt x="16" y="237"/>
                      </a:cubicBezTo>
                      <a:cubicBezTo>
                        <a:pt x="16" y="237"/>
                        <a:pt x="16" y="238"/>
                        <a:pt x="17" y="238"/>
                      </a:cubicBezTo>
                      <a:cubicBezTo>
                        <a:pt x="17" y="239"/>
                        <a:pt x="17" y="239"/>
                        <a:pt x="17" y="239"/>
                      </a:cubicBezTo>
                      <a:cubicBezTo>
                        <a:pt x="18" y="239"/>
                        <a:pt x="18" y="240"/>
                        <a:pt x="18" y="240"/>
                      </a:cubicBezTo>
                      <a:cubicBezTo>
                        <a:pt x="19" y="241"/>
                        <a:pt x="19" y="241"/>
                        <a:pt x="19" y="241"/>
                      </a:cubicBezTo>
                      <a:cubicBezTo>
                        <a:pt x="20" y="241"/>
                        <a:pt x="20" y="242"/>
                        <a:pt x="20" y="242"/>
                      </a:cubicBezTo>
                      <a:cubicBezTo>
                        <a:pt x="21" y="243"/>
                        <a:pt x="21" y="243"/>
                        <a:pt x="21" y="243"/>
                      </a:cubicBezTo>
                      <a:cubicBezTo>
                        <a:pt x="21" y="243"/>
                        <a:pt x="22" y="243"/>
                        <a:pt x="22" y="244"/>
                      </a:cubicBezTo>
                      <a:cubicBezTo>
                        <a:pt x="23" y="244"/>
                        <a:pt x="23" y="244"/>
                        <a:pt x="23" y="244"/>
                      </a:cubicBezTo>
                      <a:cubicBezTo>
                        <a:pt x="23" y="245"/>
                        <a:pt x="24" y="245"/>
                        <a:pt x="24" y="245"/>
                      </a:cubicBezTo>
                      <a:cubicBezTo>
                        <a:pt x="25" y="246"/>
                        <a:pt x="25" y="246"/>
                        <a:pt x="25" y="246"/>
                      </a:cubicBezTo>
                      <a:cubicBezTo>
                        <a:pt x="25" y="246"/>
                        <a:pt x="26" y="246"/>
                        <a:pt x="26" y="246"/>
                      </a:cubicBezTo>
                      <a:cubicBezTo>
                        <a:pt x="27" y="247"/>
                        <a:pt x="27" y="247"/>
                        <a:pt x="27" y="247"/>
                      </a:cubicBezTo>
                      <a:cubicBezTo>
                        <a:pt x="27" y="247"/>
                        <a:pt x="28" y="247"/>
                        <a:pt x="28" y="247"/>
                      </a:cubicBezTo>
                      <a:cubicBezTo>
                        <a:pt x="29" y="248"/>
                        <a:pt x="29" y="248"/>
                        <a:pt x="29" y="248"/>
                      </a:cubicBezTo>
                      <a:cubicBezTo>
                        <a:pt x="30" y="248"/>
                        <a:pt x="30" y="248"/>
                        <a:pt x="31" y="248"/>
                      </a:cubicBezTo>
                      <a:cubicBezTo>
                        <a:pt x="31" y="248"/>
                        <a:pt x="31" y="248"/>
                        <a:pt x="31" y="248"/>
                      </a:cubicBezTo>
                      <a:cubicBezTo>
                        <a:pt x="32" y="248"/>
                        <a:pt x="33" y="249"/>
                        <a:pt x="34" y="249"/>
                      </a:cubicBezTo>
                      <a:cubicBezTo>
                        <a:pt x="34" y="249"/>
                        <a:pt x="34" y="249"/>
                        <a:pt x="34" y="249"/>
                      </a:cubicBezTo>
                      <a:cubicBezTo>
                        <a:pt x="61" y="251"/>
                        <a:pt x="61" y="251"/>
                        <a:pt x="61" y="251"/>
                      </a:cubicBezTo>
                      <a:cubicBezTo>
                        <a:pt x="60" y="251"/>
                        <a:pt x="59" y="251"/>
                        <a:pt x="58" y="251"/>
                      </a:cubicBezTo>
                      <a:cubicBezTo>
                        <a:pt x="58" y="251"/>
                        <a:pt x="58" y="251"/>
                        <a:pt x="58" y="251"/>
                      </a:cubicBezTo>
                      <a:cubicBezTo>
                        <a:pt x="57" y="251"/>
                        <a:pt x="57" y="251"/>
                        <a:pt x="56" y="250"/>
                      </a:cubicBezTo>
                      <a:cubicBezTo>
                        <a:pt x="55" y="250"/>
                        <a:pt x="55" y="250"/>
                        <a:pt x="55" y="250"/>
                      </a:cubicBezTo>
                      <a:cubicBezTo>
                        <a:pt x="55" y="250"/>
                        <a:pt x="55" y="250"/>
                        <a:pt x="54" y="250"/>
                      </a:cubicBezTo>
                      <a:cubicBezTo>
                        <a:pt x="53" y="249"/>
                        <a:pt x="53" y="249"/>
                        <a:pt x="53" y="249"/>
                      </a:cubicBezTo>
                      <a:cubicBezTo>
                        <a:pt x="53" y="249"/>
                        <a:pt x="52" y="249"/>
                        <a:pt x="52" y="248"/>
                      </a:cubicBezTo>
                      <a:cubicBezTo>
                        <a:pt x="51" y="248"/>
                        <a:pt x="51" y="248"/>
                        <a:pt x="51" y="248"/>
                      </a:cubicBezTo>
                      <a:cubicBezTo>
                        <a:pt x="51" y="248"/>
                        <a:pt x="50" y="247"/>
                        <a:pt x="50" y="247"/>
                      </a:cubicBezTo>
                      <a:cubicBezTo>
                        <a:pt x="49" y="246"/>
                        <a:pt x="49" y="246"/>
                        <a:pt x="49" y="246"/>
                      </a:cubicBezTo>
                      <a:cubicBezTo>
                        <a:pt x="49" y="246"/>
                        <a:pt x="48" y="246"/>
                        <a:pt x="48" y="245"/>
                      </a:cubicBezTo>
                      <a:cubicBezTo>
                        <a:pt x="47" y="245"/>
                        <a:pt x="47" y="245"/>
                        <a:pt x="47" y="245"/>
                      </a:cubicBezTo>
                      <a:cubicBezTo>
                        <a:pt x="47" y="244"/>
                        <a:pt x="47" y="244"/>
                        <a:pt x="46" y="244"/>
                      </a:cubicBezTo>
                      <a:cubicBezTo>
                        <a:pt x="46" y="243"/>
                        <a:pt x="46" y="243"/>
                        <a:pt x="46" y="243"/>
                      </a:cubicBezTo>
                      <a:cubicBezTo>
                        <a:pt x="45" y="242"/>
                        <a:pt x="45" y="242"/>
                        <a:pt x="45" y="242"/>
                      </a:cubicBezTo>
                      <a:cubicBezTo>
                        <a:pt x="44" y="241"/>
                        <a:pt x="44" y="241"/>
                        <a:pt x="44" y="241"/>
                      </a:cubicBezTo>
                      <a:cubicBezTo>
                        <a:pt x="44" y="240"/>
                        <a:pt x="43" y="240"/>
                        <a:pt x="43" y="239"/>
                      </a:cubicBezTo>
                      <a:cubicBezTo>
                        <a:pt x="42" y="239"/>
                        <a:pt x="42" y="239"/>
                        <a:pt x="42" y="239"/>
                      </a:cubicBezTo>
                      <a:cubicBezTo>
                        <a:pt x="42" y="238"/>
                        <a:pt x="42" y="237"/>
                        <a:pt x="41" y="237"/>
                      </a:cubicBezTo>
                      <a:cubicBezTo>
                        <a:pt x="41" y="236"/>
                        <a:pt x="41" y="236"/>
                        <a:pt x="41" y="236"/>
                      </a:cubicBezTo>
                      <a:cubicBezTo>
                        <a:pt x="41" y="235"/>
                        <a:pt x="40" y="234"/>
                        <a:pt x="40" y="234"/>
                      </a:cubicBezTo>
                      <a:cubicBezTo>
                        <a:pt x="40" y="233"/>
                        <a:pt x="40" y="233"/>
                        <a:pt x="40" y="233"/>
                      </a:cubicBezTo>
                      <a:cubicBezTo>
                        <a:pt x="39" y="232"/>
                        <a:pt x="39" y="231"/>
                        <a:pt x="39" y="231"/>
                      </a:cubicBezTo>
                      <a:cubicBezTo>
                        <a:pt x="38" y="230"/>
                        <a:pt x="38" y="230"/>
                        <a:pt x="38" y="230"/>
                      </a:cubicBezTo>
                      <a:cubicBezTo>
                        <a:pt x="38" y="229"/>
                        <a:pt x="38" y="228"/>
                        <a:pt x="38" y="228"/>
                      </a:cubicBezTo>
                      <a:cubicBezTo>
                        <a:pt x="38" y="227"/>
                        <a:pt x="38" y="227"/>
                        <a:pt x="38" y="227"/>
                      </a:cubicBezTo>
                      <a:cubicBezTo>
                        <a:pt x="37" y="226"/>
                        <a:pt x="37" y="225"/>
                        <a:pt x="37" y="225"/>
                      </a:cubicBezTo>
                      <a:cubicBezTo>
                        <a:pt x="37" y="224"/>
                        <a:pt x="37" y="224"/>
                        <a:pt x="37" y="224"/>
                      </a:cubicBezTo>
                      <a:cubicBezTo>
                        <a:pt x="37" y="223"/>
                        <a:pt x="37" y="222"/>
                        <a:pt x="37" y="222"/>
                      </a:cubicBezTo>
                      <a:cubicBezTo>
                        <a:pt x="36" y="220"/>
                        <a:pt x="36" y="219"/>
                        <a:pt x="36" y="218"/>
                      </a:cubicBezTo>
                      <a:cubicBezTo>
                        <a:pt x="27" y="71"/>
                        <a:pt x="27" y="71"/>
                        <a:pt x="27" y="71"/>
                      </a:cubicBezTo>
                      <a:cubicBezTo>
                        <a:pt x="27" y="70"/>
                        <a:pt x="27" y="69"/>
                        <a:pt x="27" y="68"/>
                      </a:cubicBezTo>
                      <a:cubicBezTo>
                        <a:pt x="27" y="66"/>
                        <a:pt x="27" y="64"/>
                        <a:pt x="27" y="62"/>
                      </a:cubicBezTo>
                      <a:cubicBezTo>
                        <a:pt x="28" y="61"/>
                        <a:pt x="28" y="61"/>
                        <a:pt x="28" y="61"/>
                      </a:cubicBezTo>
                      <a:cubicBezTo>
                        <a:pt x="28" y="59"/>
                        <a:pt x="28" y="58"/>
                        <a:pt x="28" y="56"/>
                      </a:cubicBezTo>
                      <a:cubicBezTo>
                        <a:pt x="28" y="55"/>
                        <a:pt x="28" y="55"/>
                        <a:pt x="28" y="55"/>
                      </a:cubicBezTo>
                      <a:cubicBezTo>
                        <a:pt x="29" y="53"/>
                        <a:pt x="29" y="51"/>
                        <a:pt x="30" y="49"/>
                      </a:cubicBezTo>
                      <a:cubicBezTo>
                        <a:pt x="30" y="49"/>
                        <a:pt x="30" y="49"/>
                        <a:pt x="30" y="48"/>
                      </a:cubicBezTo>
                      <a:cubicBezTo>
                        <a:pt x="31" y="47"/>
                        <a:pt x="31" y="46"/>
                        <a:pt x="32" y="46"/>
                      </a:cubicBezTo>
                      <a:cubicBezTo>
                        <a:pt x="32" y="44"/>
                        <a:pt x="32" y="44"/>
                        <a:pt x="32" y="44"/>
                      </a:cubicBezTo>
                      <a:cubicBezTo>
                        <a:pt x="33" y="43"/>
                        <a:pt x="33" y="42"/>
                        <a:pt x="34" y="41"/>
                      </a:cubicBezTo>
                      <a:cubicBezTo>
                        <a:pt x="34" y="40"/>
                        <a:pt x="34" y="40"/>
                        <a:pt x="34" y="40"/>
                      </a:cubicBezTo>
                      <a:cubicBezTo>
                        <a:pt x="35" y="39"/>
                        <a:pt x="36" y="38"/>
                        <a:pt x="36" y="37"/>
                      </a:cubicBezTo>
                      <a:cubicBezTo>
                        <a:pt x="37" y="36"/>
                        <a:pt x="37" y="36"/>
                        <a:pt x="37" y="36"/>
                      </a:cubicBezTo>
                      <a:cubicBezTo>
                        <a:pt x="38" y="36"/>
                        <a:pt x="38" y="35"/>
                        <a:pt x="39" y="34"/>
                      </a:cubicBezTo>
                      <a:cubicBezTo>
                        <a:pt x="40" y="33"/>
                        <a:pt x="40" y="33"/>
                        <a:pt x="40" y="33"/>
                      </a:cubicBezTo>
                      <a:cubicBezTo>
                        <a:pt x="40" y="32"/>
                        <a:pt x="41" y="32"/>
                        <a:pt x="42" y="31"/>
                      </a:cubicBezTo>
                      <a:cubicBezTo>
                        <a:pt x="42" y="31"/>
                        <a:pt x="42" y="31"/>
                        <a:pt x="42" y="31"/>
                      </a:cubicBezTo>
                      <a:cubicBezTo>
                        <a:pt x="43" y="30"/>
                        <a:pt x="44" y="29"/>
                        <a:pt x="45" y="29"/>
                      </a:cubicBezTo>
                      <a:cubicBezTo>
                        <a:pt x="46" y="28"/>
                        <a:pt x="46" y="28"/>
                        <a:pt x="46" y="28"/>
                      </a:cubicBezTo>
                      <a:cubicBezTo>
                        <a:pt x="47" y="28"/>
                        <a:pt x="48" y="27"/>
                        <a:pt x="48" y="27"/>
                      </a:cubicBezTo>
                      <a:cubicBezTo>
                        <a:pt x="49" y="27"/>
                        <a:pt x="49" y="27"/>
                        <a:pt x="49" y="26"/>
                      </a:cubicBezTo>
                      <a:cubicBezTo>
                        <a:pt x="50" y="26"/>
                        <a:pt x="51" y="26"/>
                        <a:pt x="51" y="26"/>
                      </a:cubicBezTo>
                      <a:cubicBezTo>
                        <a:pt x="52" y="25"/>
                        <a:pt x="53" y="25"/>
                        <a:pt x="53" y="25"/>
                      </a:cubicBezTo>
                      <a:cubicBezTo>
                        <a:pt x="160" y="3"/>
                        <a:pt x="160" y="3"/>
                        <a:pt x="160" y="3"/>
                      </a:cubicBezTo>
                      <a:cubicBezTo>
                        <a:pt x="161" y="2"/>
                        <a:pt x="162" y="2"/>
                        <a:pt x="163" y="2"/>
                      </a:cubicBezTo>
                      <a:cubicBezTo>
                        <a:pt x="164" y="2"/>
                        <a:pt x="165" y="2"/>
                        <a:pt x="166" y="2"/>
                      </a:cubicBezTo>
                      <a:cubicBezTo>
                        <a:pt x="166" y="2"/>
                        <a:pt x="166" y="2"/>
                        <a:pt x="16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33">
                  <a:extLst>
                    <a:ext uri="{FF2B5EF4-FFF2-40B4-BE49-F238E27FC236}">
                      <a16:creationId xmlns:a16="http://schemas.microsoft.com/office/drawing/2014/main" id="{C3F55F3F-C64F-4701-92B3-DEC3209090B7}"/>
                    </a:ext>
                  </a:extLst>
                </p:cNvPr>
                <p:cNvSpPr>
                  <a:spLocks/>
                </p:cNvSpPr>
                <p:nvPr/>
              </p:nvSpPr>
              <p:spPr bwMode="auto">
                <a:xfrm>
                  <a:off x="3333750" y="2889251"/>
                  <a:ext cx="604838" cy="881063"/>
                </a:xfrm>
                <a:custGeom>
                  <a:avLst/>
                  <a:gdLst>
                    <a:gd name="T0" fmla="*/ 134 w 175"/>
                    <a:gd name="T1" fmla="*/ 4 h 255"/>
                    <a:gd name="T2" fmla="*/ 165 w 175"/>
                    <a:gd name="T3" fmla="*/ 37 h 255"/>
                    <a:gd name="T4" fmla="*/ 174 w 175"/>
                    <a:gd name="T5" fmla="*/ 184 h 255"/>
                    <a:gd name="T6" fmla="*/ 148 w 175"/>
                    <a:gd name="T7" fmla="*/ 230 h 255"/>
                    <a:gd name="T8" fmla="*/ 41 w 175"/>
                    <a:gd name="T9" fmla="*/ 252 h 255"/>
                    <a:gd name="T10" fmla="*/ 10 w 175"/>
                    <a:gd name="T11" fmla="*/ 219 h 255"/>
                    <a:gd name="T12" fmla="*/ 1 w 175"/>
                    <a:gd name="T13" fmla="*/ 72 h 255"/>
                    <a:gd name="T14" fmla="*/ 27 w 175"/>
                    <a:gd name="T15" fmla="*/ 26 h 255"/>
                    <a:gd name="T16" fmla="*/ 134 w 175"/>
                    <a:gd name="T17" fmla="*/ 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55">
                      <a:moveTo>
                        <a:pt x="134" y="4"/>
                      </a:moveTo>
                      <a:cubicBezTo>
                        <a:pt x="150" y="0"/>
                        <a:pt x="163" y="15"/>
                        <a:pt x="165" y="37"/>
                      </a:cubicBezTo>
                      <a:cubicBezTo>
                        <a:pt x="174" y="184"/>
                        <a:pt x="174" y="184"/>
                        <a:pt x="174" y="184"/>
                      </a:cubicBezTo>
                      <a:cubicBezTo>
                        <a:pt x="175" y="206"/>
                        <a:pt x="163" y="226"/>
                        <a:pt x="148" y="230"/>
                      </a:cubicBezTo>
                      <a:cubicBezTo>
                        <a:pt x="41" y="252"/>
                        <a:pt x="41" y="252"/>
                        <a:pt x="41" y="252"/>
                      </a:cubicBezTo>
                      <a:cubicBezTo>
                        <a:pt x="25" y="255"/>
                        <a:pt x="11" y="240"/>
                        <a:pt x="10" y="219"/>
                      </a:cubicBezTo>
                      <a:cubicBezTo>
                        <a:pt x="1" y="72"/>
                        <a:pt x="1" y="72"/>
                        <a:pt x="1" y="72"/>
                      </a:cubicBezTo>
                      <a:cubicBezTo>
                        <a:pt x="0" y="50"/>
                        <a:pt x="12" y="29"/>
                        <a:pt x="27" y="26"/>
                      </a:cubicBezTo>
                      <a:cubicBezTo>
                        <a:pt x="134" y="4"/>
                        <a:pt x="134" y="4"/>
                        <a:pt x="13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34">
                  <a:extLst>
                    <a:ext uri="{FF2B5EF4-FFF2-40B4-BE49-F238E27FC236}">
                      <a16:creationId xmlns:a16="http://schemas.microsoft.com/office/drawing/2014/main" id="{85990B5D-B996-42FA-9457-C6CD764E7181}"/>
                    </a:ext>
                  </a:extLst>
                </p:cNvPr>
                <p:cNvSpPr>
                  <a:spLocks/>
                </p:cNvSpPr>
                <p:nvPr/>
              </p:nvSpPr>
              <p:spPr bwMode="auto">
                <a:xfrm>
                  <a:off x="4229100" y="5751513"/>
                  <a:ext cx="320675" cy="223838"/>
                </a:xfrm>
                <a:custGeom>
                  <a:avLst/>
                  <a:gdLst>
                    <a:gd name="T0" fmla="*/ 76 w 93"/>
                    <a:gd name="T1" fmla="*/ 17 h 65"/>
                    <a:gd name="T2" fmla="*/ 69 w 93"/>
                    <a:gd name="T3" fmla="*/ 40 h 65"/>
                    <a:gd name="T4" fmla="*/ 43 w 93"/>
                    <a:gd name="T5" fmla="*/ 51 h 65"/>
                    <a:gd name="T6" fmla="*/ 1 w 93"/>
                    <a:gd name="T7" fmla="*/ 57 h 65"/>
                    <a:gd name="T8" fmla="*/ 5 w 93"/>
                    <a:gd name="T9" fmla="*/ 62 h 65"/>
                    <a:gd name="T10" fmla="*/ 37 w 93"/>
                    <a:gd name="T11" fmla="*/ 63 h 65"/>
                    <a:gd name="T12" fmla="*/ 75 w 93"/>
                    <a:gd name="T13" fmla="*/ 60 h 65"/>
                    <a:gd name="T14" fmla="*/ 91 w 93"/>
                    <a:gd name="T15" fmla="*/ 55 h 65"/>
                    <a:gd name="T16" fmla="*/ 91 w 93"/>
                    <a:gd name="T17" fmla="*/ 43 h 65"/>
                    <a:gd name="T18" fmla="*/ 91 w 93"/>
                    <a:gd name="T19" fmla="*/ 4 h 65"/>
                    <a:gd name="T20" fmla="*/ 89 w 93"/>
                    <a:gd name="T21" fmla="*/ 1 h 65"/>
                    <a:gd name="T22" fmla="*/ 87 w 93"/>
                    <a:gd name="T23" fmla="*/ 1 h 65"/>
                    <a:gd name="T24" fmla="*/ 76 w 93"/>
                    <a:gd name="T25" fmla="*/ 1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65">
                      <a:moveTo>
                        <a:pt x="76" y="17"/>
                      </a:moveTo>
                      <a:cubicBezTo>
                        <a:pt x="75" y="25"/>
                        <a:pt x="75" y="34"/>
                        <a:pt x="69" y="40"/>
                      </a:cubicBezTo>
                      <a:cubicBezTo>
                        <a:pt x="63" y="48"/>
                        <a:pt x="53" y="50"/>
                        <a:pt x="43" y="51"/>
                      </a:cubicBezTo>
                      <a:cubicBezTo>
                        <a:pt x="29" y="53"/>
                        <a:pt x="15" y="55"/>
                        <a:pt x="1" y="57"/>
                      </a:cubicBezTo>
                      <a:cubicBezTo>
                        <a:pt x="0" y="59"/>
                        <a:pt x="3" y="61"/>
                        <a:pt x="5" y="62"/>
                      </a:cubicBezTo>
                      <a:cubicBezTo>
                        <a:pt x="15" y="65"/>
                        <a:pt x="27" y="64"/>
                        <a:pt x="37" y="63"/>
                      </a:cubicBezTo>
                      <a:cubicBezTo>
                        <a:pt x="50" y="61"/>
                        <a:pt x="63" y="61"/>
                        <a:pt x="75" y="60"/>
                      </a:cubicBezTo>
                      <a:cubicBezTo>
                        <a:pt x="81" y="60"/>
                        <a:pt x="88" y="60"/>
                        <a:pt x="91" y="55"/>
                      </a:cubicBezTo>
                      <a:cubicBezTo>
                        <a:pt x="93" y="51"/>
                        <a:pt x="92" y="47"/>
                        <a:pt x="91" y="43"/>
                      </a:cubicBezTo>
                      <a:cubicBezTo>
                        <a:pt x="90" y="30"/>
                        <a:pt x="93" y="17"/>
                        <a:pt x="91" y="4"/>
                      </a:cubicBezTo>
                      <a:cubicBezTo>
                        <a:pt x="91" y="3"/>
                        <a:pt x="91" y="1"/>
                        <a:pt x="89" y="1"/>
                      </a:cubicBezTo>
                      <a:cubicBezTo>
                        <a:pt x="89" y="0"/>
                        <a:pt x="88" y="1"/>
                        <a:pt x="87" y="1"/>
                      </a:cubicBezTo>
                      <a:cubicBezTo>
                        <a:pt x="76" y="3"/>
                        <a:pt x="76" y="7"/>
                        <a:pt x="76"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35">
                  <a:extLst>
                    <a:ext uri="{FF2B5EF4-FFF2-40B4-BE49-F238E27FC236}">
                      <a16:creationId xmlns:a16="http://schemas.microsoft.com/office/drawing/2014/main" id="{C50BA629-3C4D-44CF-9A56-42AB32865774}"/>
                    </a:ext>
                  </a:extLst>
                </p:cNvPr>
                <p:cNvSpPr>
                  <a:spLocks/>
                </p:cNvSpPr>
                <p:nvPr/>
              </p:nvSpPr>
              <p:spPr bwMode="auto">
                <a:xfrm>
                  <a:off x="4217988" y="5868988"/>
                  <a:ext cx="341313" cy="120650"/>
                </a:xfrm>
                <a:custGeom>
                  <a:avLst/>
                  <a:gdLst>
                    <a:gd name="T0" fmla="*/ 83 w 99"/>
                    <a:gd name="T1" fmla="*/ 16 h 35"/>
                    <a:gd name="T2" fmla="*/ 50 w 99"/>
                    <a:gd name="T3" fmla="*/ 22 h 35"/>
                    <a:gd name="T4" fmla="*/ 44 w 99"/>
                    <a:gd name="T5" fmla="*/ 21 h 35"/>
                    <a:gd name="T6" fmla="*/ 42 w 99"/>
                    <a:gd name="T7" fmla="*/ 17 h 35"/>
                    <a:gd name="T8" fmla="*/ 16 w 99"/>
                    <a:gd name="T9" fmla="*/ 19 h 35"/>
                    <a:gd name="T10" fmla="*/ 1 w 99"/>
                    <a:gd name="T11" fmla="*/ 22 h 35"/>
                    <a:gd name="T12" fmla="*/ 2 w 99"/>
                    <a:gd name="T13" fmla="*/ 28 h 35"/>
                    <a:gd name="T14" fmla="*/ 8 w 99"/>
                    <a:gd name="T15" fmla="*/ 31 h 35"/>
                    <a:gd name="T16" fmla="*/ 39 w 99"/>
                    <a:gd name="T17" fmla="*/ 34 h 35"/>
                    <a:gd name="T18" fmla="*/ 79 w 99"/>
                    <a:gd name="T19" fmla="*/ 32 h 35"/>
                    <a:gd name="T20" fmla="*/ 91 w 99"/>
                    <a:gd name="T21" fmla="*/ 29 h 35"/>
                    <a:gd name="T22" fmla="*/ 99 w 99"/>
                    <a:gd name="T23" fmla="*/ 12 h 35"/>
                    <a:gd name="T24" fmla="*/ 83 w 99"/>
                    <a:gd name="T25"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35">
                      <a:moveTo>
                        <a:pt x="83" y="16"/>
                      </a:moveTo>
                      <a:cubicBezTo>
                        <a:pt x="72" y="22"/>
                        <a:pt x="62" y="24"/>
                        <a:pt x="50" y="22"/>
                      </a:cubicBezTo>
                      <a:cubicBezTo>
                        <a:pt x="49" y="22"/>
                        <a:pt x="45" y="21"/>
                        <a:pt x="44" y="21"/>
                      </a:cubicBezTo>
                      <a:cubicBezTo>
                        <a:pt x="44" y="19"/>
                        <a:pt x="44" y="17"/>
                        <a:pt x="42" y="17"/>
                      </a:cubicBezTo>
                      <a:cubicBezTo>
                        <a:pt x="33" y="17"/>
                        <a:pt x="24" y="18"/>
                        <a:pt x="16" y="19"/>
                      </a:cubicBezTo>
                      <a:cubicBezTo>
                        <a:pt x="13" y="19"/>
                        <a:pt x="2" y="20"/>
                        <a:pt x="1" y="22"/>
                      </a:cubicBezTo>
                      <a:cubicBezTo>
                        <a:pt x="0" y="24"/>
                        <a:pt x="1" y="26"/>
                        <a:pt x="2" y="28"/>
                      </a:cubicBezTo>
                      <a:cubicBezTo>
                        <a:pt x="4" y="29"/>
                        <a:pt x="6" y="30"/>
                        <a:pt x="8" y="31"/>
                      </a:cubicBezTo>
                      <a:cubicBezTo>
                        <a:pt x="18" y="35"/>
                        <a:pt x="29" y="35"/>
                        <a:pt x="39" y="34"/>
                      </a:cubicBezTo>
                      <a:cubicBezTo>
                        <a:pt x="52" y="33"/>
                        <a:pt x="65" y="33"/>
                        <a:pt x="79" y="32"/>
                      </a:cubicBezTo>
                      <a:cubicBezTo>
                        <a:pt x="83" y="32"/>
                        <a:pt x="88" y="32"/>
                        <a:pt x="91" y="29"/>
                      </a:cubicBezTo>
                      <a:cubicBezTo>
                        <a:pt x="97" y="26"/>
                        <a:pt x="99" y="18"/>
                        <a:pt x="99" y="12"/>
                      </a:cubicBezTo>
                      <a:cubicBezTo>
                        <a:pt x="99" y="0"/>
                        <a:pt x="86" y="14"/>
                        <a:pt x="8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36">
                  <a:extLst>
                    <a:ext uri="{FF2B5EF4-FFF2-40B4-BE49-F238E27FC236}">
                      <a16:creationId xmlns:a16="http://schemas.microsoft.com/office/drawing/2014/main" id="{1B9266C0-4F10-4B17-991C-06961D1EF03C}"/>
                    </a:ext>
                  </a:extLst>
                </p:cNvPr>
                <p:cNvSpPr>
                  <a:spLocks/>
                </p:cNvSpPr>
                <p:nvPr/>
              </p:nvSpPr>
              <p:spPr bwMode="auto">
                <a:xfrm>
                  <a:off x="3506788" y="5834063"/>
                  <a:ext cx="334963" cy="203200"/>
                </a:xfrm>
                <a:custGeom>
                  <a:avLst/>
                  <a:gdLst>
                    <a:gd name="T0" fmla="*/ 80 w 97"/>
                    <a:gd name="T1" fmla="*/ 15 h 59"/>
                    <a:gd name="T2" fmla="*/ 71 w 97"/>
                    <a:gd name="T3" fmla="*/ 37 h 59"/>
                    <a:gd name="T4" fmla="*/ 43 w 97"/>
                    <a:gd name="T5" fmla="*/ 44 h 59"/>
                    <a:gd name="T6" fmla="*/ 1 w 97"/>
                    <a:gd name="T7" fmla="*/ 45 h 59"/>
                    <a:gd name="T8" fmla="*/ 4 w 97"/>
                    <a:gd name="T9" fmla="*/ 50 h 59"/>
                    <a:gd name="T10" fmla="*/ 36 w 97"/>
                    <a:gd name="T11" fmla="*/ 55 h 59"/>
                    <a:gd name="T12" fmla="*/ 74 w 97"/>
                    <a:gd name="T13" fmla="*/ 58 h 59"/>
                    <a:gd name="T14" fmla="*/ 90 w 97"/>
                    <a:gd name="T15" fmla="*/ 55 h 59"/>
                    <a:gd name="T16" fmla="*/ 92 w 97"/>
                    <a:gd name="T17" fmla="*/ 42 h 59"/>
                    <a:gd name="T18" fmla="*/ 97 w 97"/>
                    <a:gd name="T19" fmla="*/ 4 h 59"/>
                    <a:gd name="T20" fmla="*/ 96 w 97"/>
                    <a:gd name="T21" fmla="*/ 1 h 59"/>
                    <a:gd name="T22" fmla="*/ 94 w 97"/>
                    <a:gd name="T23" fmla="*/ 0 h 59"/>
                    <a:gd name="T24" fmla="*/ 80 w 97"/>
                    <a:gd name="T25"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59">
                      <a:moveTo>
                        <a:pt x="80" y="15"/>
                      </a:moveTo>
                      <a:cubicBezTo>
                        <a:pt x="79" y="23"/>
                        <a:pt x="77" y="32"/>
                        <a:pt x="71" y="37"/>
                      </a:cubicBezTo>
                      <a:cubicBezTo>
                        <a:pt x="64" y="44"/>
                        <a:pt x="53" y="44"/>
                        <a:pt x="43" y="44"/>
                      </a:cubicBezTo>
                      <a:cubicBezTo>
                        <a:pt x="29" y="45"/>
                        <a:pt x="15" y="45"/>
                        <a:pt x="1" y="45"/>
                      </a:cubicBezTo>
                      <a:cubicBezTo>
                        <a:pt x="0" y="47"/>
                        <a:pt x="2" y="49"/>
                        <a:pt x="4" y="50"/>
                      </a:cubicBezTo>
                      <a:cubicBezTo>
                        <a:pt x="14" y="55"/>
                        <a:pt x="25" y="55"/>
                        <a:pt x="36" y="55"/>
                      </a:cubicBezTo>
                      <a:cubicBezTo>
                        <a:pt x="49" y="55"/>
                        <a:pt x="61" y="56"/>
                        <a:pt x="74" y="58"/>
                      </a:cubicBezTo>
                      <a:cubicBezTo>
                        <a:pt x="80" y="59"/>
                        <a:pt x="86" y="59"/>
                        <a:pt x="90" y="55"/>
                      </a:cubicBezTo>
                      <a:cubicBezTo>
                        <a:pt x="92" y="51"/>
                        <a:pt x="92" y="47"/>
                        <a:pt x="92" y="42"/>
                      </a:cubicBezTo>
                      <a:cubicBezTo>
                        <a:pt x="92" y="30"/>
                        <a:pt x="97" y="17"/>
                        <a:pt x="97" y="4"/>
                      </a:cubicBezTo>
                      <a:cubicBezTo>
                        <a:pt x="97" y="3"/>
                        <a:pt x="97" y="1"/>
                        <a:pt x="96" y="1"/>
                      </a:cubicBezTo>
                      <a:cubicBezTo>
                        <a:pt x="95" y="0"/>
                        <a:pt x="94" y="0"/>
                        <a:pt x="94" y="0"/>
                      </a:cubicBezTo>
                      <a:cubicBezTo>
                        <a:pt x="83" y="1"/>
                        <a:pt x="82" y="5"/>
                        <a:pt x="8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37">
                  <a:extLst>
                    <a:ext uri="{FF2B5EF4-FFF2-40B4-BE49-F238E27FC236}">
                      <a16:creationId xmlns:a16="http://schemas.microsoft.com/office/drawing/2014/main" id="{A84953F4-B3A6-49C9-8617-7D377EC3174F}"/>
                    </a:ext>
                  </a:extLst>
                </p:cNvPr>
                <p:cNvSpPr>
                  <a:spLocks/>
                </p:cNvSpPr>
                <p:nvPr/>
              </p:nvSpPr>
              <p:spPr bwMode="auto">
                <a:xfrm>
                  <a:off x="4273550" y="4449763"/>
                  <a:ext cx="376238" cy="1366838"/>
                </a:xfrm>
                <a:custGeom>
                  <a:avLst/>
                  <a:gdLst>
                    <a:gd name="T0" fmla="*/ 91 w 109"/>
                    <a:gd name="T1" fmla="*/ 0 h 396"/>
                    <a:gd name="T2" fmla="*/ 78 w 109"/>
                    <a:gd name="T3" fmla="*/ 150 h 396"/>
                    <a:gd name="T4" fmla="*/ 108 w 109"/>
                    <a:gd name="T5" fmla="*/ 348 h 396"/>
                    <a:gd name="T6" fmla="*/ 100 w 109"/>
                    <a:gd name="T7" fmla="*/ 396 h 396"/>
                    <a:gd name="T8" fmla="*/ 25 w 109"/>
                    <a:gd name="T9" fmla="*/ 395 h 396"/>
                    <a:gd name="T10" fmla="*/ 0 w 109"/>
                    <a:gd name="T11" fmla="*/ 8 h 396"/>
                    <a:gd name="T12" fmla="*/ 91 w 109"/>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109" h="396">
                      <a:moveTo>
                        <a:pt x="91" y="0"/>
                      </a:moveTo>
                      <a:cubicBezTo>
                        <a:pt x="91" y="0"/>
                        <a:pt x="82" y="97"/>
                        <a:pt x="78" y="150"/>
                      </a:cubicBezTo>
                      <a:cubicBezTo>
                        <a:pt x="75" y="203"/>
                        <a:pt x="109" y="317"/>
                        <a:pt x="108" y="348"/>
                      </a:cubicBezTo>
                      <a:cubicBezTo>
                        <a:pt x="107" y="378"/>
                        <a:pt x="100" y="396"/>
                        <a:pt x="100" y="396"/>
                      </a:cubicBezTo>
                      <a:cubicBezTo>
                        <a:pt x="25" y="395"/>
                        <a:pt x="25" y="395"/>
                        <a:pt x="25" y="395"/>
                      </a:cubicBezTo>
                      <a:cubicBezTo>
                        <a:pt x="0" y="8"/>
                        <a:pt x="0" y="8"/>
                        <a:pt x="0" y="8"/>
                      </a:cubicBezTo>
                      <a:cubicBezTo>
                        <a:pt x="91" y="0"/>
                        <a:pt x="91" y="0"/>
                        <a:pt x="9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38">
                  <a:extLst>
                    <a:ext uri="{FF2B5EF4-FFF2-40B4-BE49-F238E27FC236}">
                      <a16:creationId xmlns:a16="http://schemas.microsoft.com/office/drawing/2014/main" id="{E61A6BAA-DC4D-47C4-A629-1769978CA9BF}"/>
                    </a:ext>
                  </a:extLst>
                </p:cNvPr>
                <p:cNvSpPr>
                  <a:spLocks/>
                </p:cNvSpPr>
                <p:nvPr/>
              </p:nvSpPr>
              <p:spPr bwMode="auto">
                <a:xfrm>
                  <a:off x="4283075" y="3270251"/>
                  <a:ext cx="76200" cy="150813"/>
                </a:xfrm>
                <a:custGeom>
                  <a:avLst/>
                  <a:gdLst>
                    <a:gd name="T0" fmla="*/ 14 w 22"/>
                    <a:gd name="T1" fmla="*/ 23 h 44"/>
                    <a:gd name="T2" fmla="*/ 5 w 22"/>
                    <a:gd name="T3" fmla="*/ 39 h 44"/>
                    <a:gd name="T4" fmla="*/ 4 w 22"/>
                    <a:gd name="T5" fmla="*/ 40 h 44"/>
                    <a:gd name="T6" fmla="*/ 4 w 22"/>
                    <a:gd name="T7" fmla="*/ 40 h 44"/>
                    <a:gd name="T8" fmla="*/ 4 w 22"/>
                    <a:gd name="T9" fmla="*/ 40 h 44"/>
                    <a:gd name="T10" fmla="*/ 4 w 22"/>
                    <a:gd name="T11" fmla="*/ 40 h 44"/>
                    <a:gd name="T12" fmla="*/ 4 w 22"/>
                    <a:gd name="T13" fmla="*/ 40 h 44"/>
                    <a:gd name="T14" fmla="*/ 4 w 22"/>
                    <a:gd name="T15" fmla="*/ 41 h 44"/>
                    <a:gd name="T16" fmla="*/ 4 w 22"/>
                    <a:gd name="T17" fmla="*/ 41 h 44"/>
                    <a:gd name="T18" fmla="*/ 4 w 22"/>
                    <a:gd name="T19" fmla="*/ 40 h 44"/>
                    <a:gd name="T20" fmla="*/ 4 w 22"/>
                    <a:gd name="T21" fmla="*/ 40 h 44"/>
                    <a:gd name="T22" fmla="*/ 4 w 22"/>
                    <a:gd name="T23" fmla="*/ 38 h 44"/>
                    <a:gd name="T24" fmla="*/ 14 w 22"/>
                    <a:gd name="T25" fmla="*/ 9 h 44"/>
                    <a:gd name="T26" fmla="*/ 18 w 22"/>
                    <a:gd name="T27" fmla="*/ 5 h 44"/>
                    <a:gd name="T28" fmla="*/ 18 w 22"/>
                    <a:gd name="T29" fmla="*/ 4 h 44"/>
                    <a:gd name="T30" fmla="*/ 18 w 22"/>
                    <a:gd name="T31" fmla="*/ 4 h 44"/>
                    <a:gd name="T32" fmla="*/ 18 w 22"/>
                    <a:gd name="T33" fmla="*/ 4 h 44"/>
                    <a:gd name="T34" fmla="*/ 18 w 22"/>
                    <a:gd name="T35" fmla="*/ 4 h 44"/>
                    <a:gd name="T36" fmla="*/ 18 w 22"/>
                    <a:gd name="T37" fmla="*/ 4 h 44"/>
                    <a:gd name="T38" fmla="*/ 18 w 22"/>
                    <a:gd name="T39" fmla="*/ 4 h 44"/>
                    <a:gd name="T40" fmla="*/ 18 w 22"/>
                    <a:gd name="T41" fmla="*/ 4 h 44"/>
                    <a:gd name="T42" fmla="*/ 18 w 22"/>
                    <a:gd name="T43" fmla="*/ 4 h 44"/>
                    <a:gd name="T44" fmla="*/ 18 w 22"/>
                    <a:gd name="T45" fmla="*/ 4 h 44"/>
                    <a:gd name="T46" fmla="*/ 14 w 22"/>
                    <a:gd name="T47" fmla="*/ 23 h 44"/>
                    <a:gd name="T48" fmla="*/ 17 w 22"/>
                    <a:gd name="T49" fmla="*/ 25 h 44"/>
                    <a:gd name="T50" fmla="*/ 21 w 22"/>
                    <a:gd name="T51" fmla="*/ 3 h 44"/>
                    <a:gd name="T52" fmla="*/ 19 w 22"/>
                    <a:gd name="T53" fmla="*/ 1 h 44"/>
                    <a:gd name="T54" fmla="*/ 14 w 22"/>
                    <a:gd name="T55" fmla="*/ 2 h 44"/>
                    <a:gd name="T56" fmla="*/ 4 w 22"/>
                    <a:gd name="T57" fmla="*/ 20 h 44"/>
                    <a:gd name="T58" fmla="*/ 0 w 22"/>
                    <a:gd name="T59" fmla="*/ 41 h 44"/>
                    <a:gd name="T60" fmla="*/ 2 w 22"/>
                    <a:gd name="T61" fmla="*/ 44 h 44"/>
                    <a:gd name="T62" fmla="*/ 7 w 22"/>
                    <a:gd name="T63" fmla="*/ 42 h 44"/>
                    <a:gd name="T64" fmla="*/ 17 w 22"/>
                    <a:gd name="T65" fmla="*/ 2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44">
                      <a:moveTo>
                        <a:pt x="15" y="24"/>
                      </a:moveTo>
                      <a:cubicBezTo>
                        <a:pt x="14" y="23"/>
                        <a:pt x="14" y="23"/>
                        <a:pt x="14" y="23"/>
                      </a:cubicBezTo>
                      <a:cubicBezTo>
                        <a:pt x="12" y="28"/>
                        <a:pt x="9" y="33"/>
                        <a:pt x="7" y="36"/>
                      </a:cubicBezTo>
                      <a:cubicBezTo>
                        <a:pt x="6" y="37"/>
                        <a:pt x="5" y="38"/>
                        <a:pt x="5" y="39"/>
                      </a:cubicBezTo>
                      <a:cubicBezTo>
                        <a:pt x="4" y="39"/>
                        <a:pt x="4" y="40"/>
                        <a:pt x="4" y="40"/>
                      </a:cubicBezTo>
                      <a:cubicBezTo>
                        <a:pt x="4" y="40"/>
                        <a:pt x="4" y="40"/>
                        <a:pt x="4" y="40"/>
                      </a:cubicBezTo>
                      <a:cubicBezTo>
                        <a:pt x="4" y="40"/>
                        <a:pt x="4" y="40"/>
                        <a:pt x="4" y="40"/>
                      </a:cubicBezTo>
                      <a:cubicBezTo>
                        <a:pt x="4" y="40"/>
                        <a:pt x="4" y="40"/>
                        <a:pt x="4" y="40"/>
                      </a:cubicBezTo>
                      <a:cubicBezTo>
                        <a:pt x="4" y="40"/>
                        <a:pt x="4" y="40"/>
                        <a:pt x="4" y="40"/>
                      </a:cubicBezTo>
                      <a:cubicBezTo>
                        <a:pt x="4" y="40"/>
                        <a:pt x="4" y="40"/>
                        <a:pt x="4" y="40"/>
                      </a:cubicBezTo>
                      <a:cubicBezTo>
                        <a:pt x="4" y="40"/>
                        <a:pt x="4" y="40"/>
                        <a:pt x="4" y="40"/>
                      </a:cubicBezTo>
                      <a:cubicBezTo>
                        <a:pt x="4" y="40"/>
                        <a:pt x="4" y="40"/>
                        <a:pt x="4" y="40"/>
                      </a:cubicBezTo>
                      <a:cubicBezTo>
                        <a:pt x="4" y="41"/>
                        <a:pt x="4" y="41"/>
                        <a:pt x="4" y="41"/>
                      </a:cubicBezTo>
                      <a:cubicBezTo>
                        <a:pt x="4" y="40"/>
                        <a:pt x="4" y="40"/>
                        <a:pt x="4" y="40"/>
                      </a:cubicBezTo>
                      <a:cubicBezTo>
                        <a:pt x="4" y="40"/>
                        <a:pt x="4" y="40"/>
                        <a:pt x="4" y="40"/>
                      </a:cubicBezTo>
                      <a:cubicBezTo>
                        <a:pt x="4" y="41"/>
                        <a:pt x="4" y="41"/>
                        <a:pt x="4" y="41"/>
                      </a:cubicBezTo>
                      <a:cubicBezTo>
                        <a:pt x="4" y="40"/>
                        <a:pt x="4" y="40"/>
                        <a:pt x="4" y="40"/>
                      </a:cubicBezTo>
                      <a:cubicBezTo>
                        <a:pt x="4" y="41"/>
                        <a:pt x="4" y="41"/>
                        <a:pt x="4" y="41"/>
                      </a:cubicBezTo>
                      <a:cubicBezTo>
                        <a:pt x="4" y="40"/>
                        <a:pt x="4" y="40"/>
                        <a:pt x="4" y="40"/>
                      </a:cubicBezTo>
                      <a:cubicBezTo>
                        <a:pt x="4" y="40"/>
                        <a:pt x="4" y="40"/>
                        <a:pt x="4" y="40"/>
                      </a:cubicBezTo>
                      <a:cubicBezTo>
                        <a:pt x="4" y="41"/>
                        <a:pt x="4" y="41"/>
                        <a:pt x="4" y="41"/>
                      </a:cubicBezTo>
                      <a:cubicBezTo>
                        <a:pt x="4" y="40"/>
                        <a:pt x="4" y="40"/>
                        <a:pt x="4" y="40"/>
                      </a:cubicBezTo>
                      <a:cubicBezTo>
                        <a:pt x="4" y="40"/>
                        <a:pt x="4" y="40"/>
                        <a:pt x="4" y="40"/>
                      </a:cubicBezTo>
                      <a:cubicBezTo>
                        <a:pt x="4" y="40"/>
                        <a:pt x="4" y="39"/>
                        <a:pt x="4" y="38"/>
                      </a:cubicBezTo>
                      <a:cubicBezTo>
                        <a:pt x="4" y="35"/>
                        <a:pt x="5" y="28"/>
                        <a:pt x="8" y="21"/>
                      </a:cubicBezTo>
                      <a:cubicBezTo>
                        <a:pt x="10" y="16"/>
                        <a:pt x="12" y="12"/>
                        <a:pt x="14" y="9"/>
                      </a:cubicBezTo>
                      <a:cubicBezTo>
                        <a:pt x="15" y="7"/>
                        <a:pt x="16" y="6"/>
                        <a:pt x="17" y="5"/>
                      </a:cubicBezTo>
                      <a:cubicBezTo>
                        <a:pt x="17" y="5"/>
                        <a:pt x="18" y="5"/>
                        <a:pt x="18" y="5"/>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5"/>
                        <a:pt x="18" y="6"/>
                      </a:cubicBezTo>
                      <a:cubicBezTo>
                        <a:pt x="18" y="10"/>
                        <a:pt x="16" y="16"/>
                        <a:pt x="14" y="23"/>
                      </a:cubicBezTo>
                      <a:cubicBezTo>
                        <a:pt x="15" y="24"/>
                        <a:pt x="15" y="24"/>
                        <a:pt x="15" y="24"/>
                      </a:cubicBezTo>
                      <a:cubicBezTo>
                        <a:pt x="17" y="25"/>
                        <a:pt x="17" y="25"/>
                        <a:pt x="17" y="25"/>
                      </a:cubicBezTo>
                      <a:cubicBezTo>
                        <a:pt x="20" y="17"/>
                        <a:pt x="22" y="11"/>
                        <a:pt x="22" y="6"/>
                      </a:cubicBezTo>
                      <a:cubicBezTo>
                        <a:pt x="22" y="5"/>
                        <a:pt x="22" y="4"/>
                        <a:pt x="21" y="3"/>
                      </a:cubicBezTo>
                      <a:cubicBezTo>
                        <a:pt x="21" y="3"/>
                        <a:pt x="21" y="2"/>
                        <a:pt x="21" y="2"/>
                      </a:cubicBezTo>
                      <a:cubicBezTo>
                        <a:pt x="20" y="1"/>
                        <a:pt x="20" y="1"/>
                        <a:pt x="19" y="1"/>
                      </a:cubicBezTo>
                      <a:cubicBezTo>
                        <a:pt x="19" y="1"/>
                        <a:pt x="19" y="0"/>
                        <a:pt x="18" y="0"/>
                      </a:cubicBezTo>
                      <a:cubicBezTo>
                        <a:pt x="16" y="1"/>
                        <a:pt x="15" y="1"/>
                        <a:pt x="14" y="2"/>
                      </a:cubicBezTo>
                      <a:cubicBezTo>
                        <a:pt x="13" y="4"/>
                        <a:pt x="11" y="6"/>
                        <a:pt x="9" y="9"/>
                      </a:cubicBezTo>
                      <a:cubicBezTo>
                        <a:pt x="8" y="12"/>
                        <a:pt x="6" y="16"/>
                        <a:pt x="4" y="20"/>
                      </a:cubicBezTo>
                      <a:cubicBezTo>
                        <a:pt x="2" y="27"/>
                        <a:pt x="0" y="34"/>
                        <a:pt x="0" y="38"/>
                      </a:cubicBezTo>
                      <a:cubicBezTo>
                        <a:pt x="0" y="39"/>
                        <a:pt x="0" y="40"/>
                        <a:pt x="0" y="41"/>
                      </a:cubicBezTo>
                      <a:cubicBezTo>
                        <a:pt x="0" y="42"/>
                        <a:pt x="1" y="42"/>
                        <a:pt x="1" y="43"/>
                      </a:cubicBezTo>
                      <a:cubicBezTo>
                        <a:pt x="1" y="43"/>
                        <a:pt x="2" y="43"/>
                        <a:pt x="2" y="44"/>
                      </a:cubicBezTo>
                      <a:cubicBezTo>
                        <a:pt x="3" y="44"/>
                        <a:pt x="3" y="44"/>
                        <a:pt x="4" y="44"/>
                      </a:cubicBezTo>
                      <a:cubicBezTo>
                        <a:pt x="5" y="44"/>
                        <a:pt x="6" y="43"/>
                        <a:pt x="7" y="42"/>
                      </a:cubicBezTo>
                      <a:cubicBezTo>
                        <a:pt x="9" y="40"/>
                        <a:pt x="11" y="38"/>
                        <a:pt x="12" y="35"/>
                      </a:cubicBezTo>
                      <a:cubicBezTo>
                        <a:pt x="14" y="32"/>
                        <a:pt x="16" y="29"/>
                        <a:pt x="17" y="25"/>
                      </a:cubicBezTo>
                      <a:cubicBezTo>
                        <a:pt x="15" y="24"/>
                        <a:pt x="15" y="24"/>
                        <a:pt x="1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39">
                  <a:extLst>
                    <a:ext uri="{FF2B5EF4-FFF2-40B4-BE49-F238E27FC236}">
                      <a16:creationId xmlns:a16="http://schemas.microsoft.com/office/drawing/2014/main" id="{DAECCA5B-A6E1-4E24-B860-B61806824226}"/>
                    </a:ext>
                  </a:extLst>
                </p:cNvPr>
                <p:cNvSpPr>
                  <a:spLocks/>
                </p:cNvSpPr>
                <p:nvPr/>
              </p:nvSpPr>
              <p:spPr bwMode="auto">
                <a:xfrm>
                  <a:off x="4238625" y="3238501"/>
                  <a:ext cx="452438" cy="455613"/>
                </a:xfrm>
                <a:custGeom>
                  <a:avLst/>
                  <a:gdLst>
                    <a:gd name="T0" fmla="*/ 122 w 131"/>
                    <a:gd name="T1" fmla="*/ 81 h 132"/>
                    <a:gd name="T2" fmla="*/ 50 w 131"/>
                    <a:gd name="T3" fmla="*/ 123 h 132"/>
                    <a:gd name="T4" fmla="*/ 8 w 131"/>
                    <a:gd name="T5" fmla="*/ 50 h 132"/>
                    <a:gd name="T6" fmla="*/ 81 w 131"/>
                    <a:gd name="T7" fmla="*/ 9 h 132"/>
                    <a:gd name="T8" fmla="*/ 122 w 131"/>
                    <a:gd name="T9" fmla="*/ 81 h 132"/>
                  </a:gdLst>
                  <a:ahLst/>
                  <a:cxnLst>
                    <a:cxn ang="0">
                      <a:pos x="T0" y="T1"/>
                    </a:cxn>
                    <a:cxn ang="0">
                      <a:pos x="T2" y="T3"/>
                    </a:cxn>
                    <a:cxn ang="0">
                      <a:pos x="T4" y="T5"/>
                    </a:cxn>
                    <a:cxn ang="0">
                      <a:pos x="T6" y="T7"/>
                    </a:cxn>
                    <a:cxn ang="0">
                      <a:pos x="T8" y="T9"/>
                    </a:cxn>
                  </a:cxnLst>
                  <a:rect l="0" t="0" r="r" b="b"/>
                  <a:pathLst>
                    <a:path w="131" h="132">
                      <a:moveTo>
                        <a:pt x="122" y="81"/>
                      </a:moveTo>
                      <a:cubicBezTo>
                        <a:pt x="114" y="113"/>
                        <a:pt x="81" y="132"/>
                        <a:pt x="50" y="123"/>
                      </a:cubicBezTo>
                      <a:cubicBezTo>
                        <a:pt x="18" y="115"/>
                        <a:pt x="0" y="82"/>
                        <a:pt x="8" y="50"/>
                      </a:cubicBezTo>
                      <a:cubicBezTo>
                        <a:pt x="17" y="19"/>
                        <a:pt x="49" y="0"/>
                        <a:pt x="81" y="9"/>
                      </a:cubicBezTo>
                      <a:cubicBezTo>
                        <a:pt x="112" y="17"/>
                        <a:pt x="131" y="50"/>
                        <a:pt x="122"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40">
                  <a:extLst>
                    <a:ext uri="{FF2B5EF4-FFF2-40B4-BE49-F238E27FC236}">
                      <a16:creationId xmlns:a16="http://schemas.microsoft.com/office/drawing/2014/main" id="{8918412E-776D-4002-87BF-71E7FA16B1DE}"/>
                    </a:ext>
                  </a:extLst>
                </p:cNvPr>
                <p:cNvSpPr>
                  <a:spLocks/>
                </p:cNvSpPr>
                <p:nvPr/>
              </p:nvSpPr>
              <p:spPr bwMode="auto">
                <a:xfrm>
                  <a:off x="4367213" y="3556001"/>
                  <a:ext cx="171450" cy="282575"/>
                </a:xfrm>
                <a:custGeom>
                  <a:avLst/>
                  <a:gdLst>
                    <a:gd name="T0" fmla="*/ 26 w 108"/>
                    <a:gd name="T1" fmla="*/ 4 h 178"/>
                    <a:gd name="T2" fmla="*/ 0 w 108"/>
                    <a:gd name="T3" fmla="*/ 148 h 178"/>
                    <a:gd name="T4" fmla="*/ 78 w 108"/>
                    <a:gd name="T5" fmla="*/ 178 h 178"/>
                    <a:gd name="T6" fmla="*/ 108 w 108"/>
                    <a:gd name="T7" fmla="*/ 0 h 178"/>
                    <a:gd name="T8" fmla="*/ 26 w 108"/>
                    <a:gd name="T9" fmla="*/ 4 h 178"/>
                    <a:gd name="T10" fmla="*/ 26 w 108"/>
                    <a:gd name="T11" fmla="*/ 4 h 178"/>
                  </a:gdLst>
                  <a:ahLst/>
                  <a:cxnLst>
                    <a:cxn ang="0">
                      <a:pos x="T0" y="T1"/>
                    </a:cxn>
                    <a:cxn ang="0">
                      <a:pos x="T2" y="T3"/>
                    </a:cxn>
                    <a:cxn ang="0">
                      <a:pos x="T4" y="T5"/>
                    </a:cxn>
                    <a:cxn ang="0">
                      <a:pos x="T6" y="T7"/>
                    </a:cxn>
                    <a:cxn ang="0">
                      <a:pos x="T8" y="T9"/>
                    </a:cxn>
                    <a:cxn ang="0">
                      <a:pos x="T10" y="T11"/>
                    </a:cxn>
                  </a:cxnLst>
                  <a:rect l="0" t="0" r="r" b="b"/>
                  <a:pathLst>
                    <a:path w="108" h="178">
                      <a:moveTo>
                        <a:pt x="26" y="4"/>
                      </a:moveTo>
                      <a:lnTo>
                        <a:pt x="0" y="148"/>
                      </a:lnTo>
                      <a:lnTo>
                        <a:pt x="78" y="178"/>
                      </a:lnTo>
                      <a:lnTo>
                        <a:pt x="108" y="0"/>
                      </a:lnTo>
                      <a:lnTo>
                        <a:pt x="26" y="4"/>
                      </a:lnTo>
                      <a:lnTo>
                        <a:pt x="2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41">
                  <a:extLst>
                    <a:ext uri="{FF2B5EF4-FFF2-40B4-BE49-F238E27FC236}">
                      <a16:creationId xmlns:a16="http://schemas.microsoft.com/office/drawing/2014/main" id="{7C1C40B7-7E41-4F00-A643-DC9F4B6116BE}"/>
                    </a:ext>
                  </a:extLst>
                </p:cNvPr>
                <p:cNvSpPr>
                  <a:spLocks/>
                </p:cNvSpPr>
                <p:nvPr/>
              </p:nvSpPr>
              <p:spPr bwMode="auto">
                <a:xfrm>
                  <a:off x="3744913" y="4402138"/>
                  <a:ext cx="860425" cy="1497013"/>
                </a:xfrm>
                <a:custGeom>
                  <a:avLst/>
                  <a:gdLst>
                    <a:gd name="T0" fmla="*/ 247 w 249"/>
                    <a:gd name="T1" fmla="*/ 0 h 434"/>
                    <a:gd name="T2" fmla="*/ 103 w 249"/>
                    <a:gd name="T3" fmla="*/ 20 h 434"/>
                    <a:gd name="T4" fmla="*/ 0 w 249"/>
                    <a:gd name="T5" fmla="*/ 424 h 434"/>
                    <a:gd name="T6" fmla="*/ 62 w 249"/>
                    <a:gd name="T7" fmla="*/ 434 h 434"/>
                    <a:gd name="T8" fmla="*/ 126 w 249"/>
                    <a:gd name="T9" fmla="*/ 295 h 434"/>
                    <a:gd name="T10" fmla="*/ 240 w 249"/>
                    <a:gd name="T11" fmla="*/ 52 h 434"/>
                    <a:gd name="T12" fmla="*/ 247 w 249"/>
                    <a:gd name="T13" fmla="*/ 0 h 434"/>
                  </a:gdLst>
                  <a:ahLst/>
                  <a:cxnLst>
                    <a:cxn ang="0">
                      <a:pos x="T0" y="T1"/>
                    </a:cxn>
                    <a:cxn ang="0">
                      <a:pos x="T2" y="T3"/>
                    </a:cxn>
                    <a:cxn ang="0">
                      <a:pos x="T4" y="T5"/>
                    </a:cxn>
                    <a:cxn ang="0">
                      <a:pos x="T6" y="T7"/>
                    </a:cxn>
                    <a:cxn ang="0">
                      <a:pos x="T8" y="T9"/>
                    </a:cxn>
                    <a:cxn ang="0">
                      <a:pos x="T10" y="T11"/>
                    </a:cxn>
                    <a:cxn ang="0">
                      <a:pos x="T12" y="T13"/>
                    </a:cxn>
                  </a:cxnLst>
                  <a:rect l="0" t="0" r="r" b="b"/>
                  <a:pathLst>
                    <a:path w="249" h="434">
                      <a:moveTo>
                        <a:pt x="247" y="0"/>
                      </a:moveTo>
                      <a:cubicBezTo>
                        <a:pt x="247" y="0"/>
                        <a:pt x="138" y="7"/>
                        <a:pt x="103" y="20"/>
                      </a:cubicBezTo>
                      <a:cubicBezTo>
                        <a:pt x="85" y="75"/>
                        <a:pt x="7" y="391"/>
                        <a:pt x="0" y="424"/>
                      </a:cubicBezTo>
                      <a:cubicBezTo>
                        <a:pt x="11" y="427"/>
                        <a:pt x="62" y="434"/>
                        <a:pt x="62" y="434"/>
                      </a:cubicBezTo>
                      <a:cubicBezTo>
                        <a:pt x="62" y="434"/>
                        <a:pt x="94" y="400"/>
                        <a:pt x="126" y="295"/>
                      </a:cubicBezTo>
                      <a:cubicBezTo>
                        <a:pt x="159" y="184"/>
                        <a:pt x="234" y="61"/>
                        <a:pt x="240" y="52"/>
                      </a:cubicBezTo>
                      <a:cubicBezTo>
                        <a:pt x="249" y="38"/>
                        <a:pt x="247" y="0"/>
                        <a:pt x="247"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42">
                  <a:extLst>
                    <a:ext uri="{FF2B5EF4-FFF2-40B4-BE49-F238E27FC236}">
                      <a16:creationId xmlns:a16="http://schemas.microsoft.com/office/drawing/2014/main" id="{32FA865A-816F-46CB-BCE6-2DF26BDCCF31}"/>
                    </a:ext>
                  </a:extLst>
                </p:cNvPr>
                <p:cNvSpPr>
                  <a:spLocks/>
                </p:cNvSpPr>
                <p:nvPr/>
              </p:nvSpPr>
              <p:spPr bwMode="auto">
                <a:xfrm>
                  <a:off x="3241675" y="3508376"/>
                  <a:ext cx="196850" cy="200025"/>
                </a:xfrm>
                <a:custGeom>
                  <a:avLst/>
                  <a:gdLst>
                    <a:gd name="T0" fmla="*/ 42 w 57"/>
                    <a:gd name="T1" fmla="*/ 8 h 58"/>
                    <a:gd name="T2" fmla="*/ 38 w 57"/>
                    <a:gd name="T3" fmla="*/ 1 h 58"/>
                    <a:gd name="T4" fmla="*/ 29 w 57"/>
                    <a:gd name="T5" fmla="*/ 1 h 58"/>
                    <a:gd name="T6" fmla="*/ 21 w 57"/>
                    <a:gd name="T7" fmla="*/ 5 h 58"/>
                    <a:gd name="T8" fmla="*/ 4 w 57"/>
                    <a:gd name="T9" fmla="*/ 8 h 58"/>
                    <a:gd name="T10" fmla="*/ 1 w 57"/>
                    <a:gd name="T11" fmla="*/ 17 h 58"/>
                    <a:gd name="T12" fmla="*/ 3 w 57"/>
                    <a:gd name="T13" fmla="*/ 22 h 58"/>
                    <a:gd name="T14" fmla="*/ 9 w 57"/>
                    <a:gd name="T15" fmla="*/ 38 h 58"/>
                    <a:gd name="T16" fmla="*/ 20 w 57"/>
                    <a:gd name="T17" fmla="*/ 45 h 58"/>
                    <a:gd name="T18" fmla="*/ 50 w 57"/>
                    <a:gd name="T19" fmla="*/ 57 h 58"/>
                    <a:gd name="T20" fmla="*/ 52 w 57"/>
                    <a:gd name="T21" fmla="*/ 57 h 58"/>
                    <a:gd name="T22" fmla="*/ 53 w 57"/>
                    <a:gd name="T23" fmla="*/ 56 h 58"/>
                    <a:gd name="T24" fmla="*/ 50 w 57"/>
                    <a:gd name="T25" fmla="*/ 32 h 58"/>
                    <a:gd name="T26" fmla="*/ 42 w 57"/>
                    <a:gd name="T27"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58">
                      <a:moveTo>
                        <a:pt x="42" y="8"/>
                      </a:moveTo>
                      <a:cubicBezTo>
                        <a:pt x="41" y="6"/>
                        <a:pt x="40" y="3"/>
                        <a:pt x="38" y="1"/>
                      </a:cubicBezTo>
                      <a:cubicBezTo>
                        <a:pt x="36" y="0"/>
                        <a:pt x="32" y="0"/>
                        <a:pt x="29" y="1"/>
                      </a:cubicBezTo>
                      <a:cubicBezTo>
                        <a:pt x="26" y="2"/>
                        <a:pt x="24" y="4"/>
                        <a:pt x="21" y="5"/>
                      </a:cubicBezTo>
                      <a:cubicBezTo>
                        <a:pt x="15" y="7"/>
                        <a:pt x="9" y="5"/>
                        <a:pt x="4" y="8"/>
                      </a:cubicBezTo>
                      <a:cubicBezTo>
                        <a:pt x="1" y="10"/>
                        <a:pt x="0" y="14"/>
                        <a:pt x="1" y="17"/>
                      </a:cubicBezTo>
                      <a:cubicBezTo>
                        <a:pt x="1" y="18"/>
                        <a:pt x="2" y="20"/>
                        <a:pt x="3" y="22"/>
                      </a:cubicBezTo>
                      <a:cubicBezTo>
                        <a:pt x="5" y="27"/>
                        <a:pt x="5" y="33"/>
                        <a:pt x="9" y="38"/>
                      </a:cubicBezTo>
                      <a:cubicBezTo>
                        <a:pt x="11" y="42"/>
                        <a:pt x="15" y="44"/>
                        <a:pt x="20" y="45"/>
                      </a:cubicBezTo>
                      <a:cubicBezTo>
                        <a:pt x="30" y="49"/>
                        <a:pt x="40" y="53"/>
                        <a:pt x="50" y="57"/>
                      </a:cubicBezTo>
                      <a:cubicBezTo>
                        <a:pt x="50" y="57"/>
                        <a:pt x="51" y="58"/>
                        <a:pt x="52" y="57"/>
                      </a:cubicBezTo>
                      <a:cubicBezTo>
                        <a:pt x="52" y="57"/>
                        <a:pt x="52" y="56"/>
                        <a:pt x="53" y="56"/>
                      </a:cubicBezTo>
                      <a:cubicBezTo>
                        <a:pt x="57" y="46"/>
                        <a:pt x="55" y="40"/>
                        <a:pt x="50" y="32"/>
                      </a:cubicBezTo>
                      <a:cubicBezTo>
                        <a:pt x="45" y="25"/>
                        <a:pt x="44" y="16"/>
                        <a:pt x="4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43">
                  <a:extLst>
                    <a:ext uri="{FF2B5EF4-FFF2-40B4-BE49-F238E27FC236}">
                      <a16:creationId xmlns:a16="http://schemas.microsoft.com/office/drawing/2014/main" id="{6C3C1B05-7109-4B40-AE52-D716EEAC82A2}"/>
                    </a:ext>
                  </a:extLst>
                </p:cNvPr>
                <p:cNvSpPr>
                  <a:spLocks/>
                </p:cNvSpPr>
                <p:nvPr/>
              </p:nvSpPr>
              <p:spPr bwMode="auto">
                <a:xfrm>
                  <a:off x="3497263" y="5951538"/>
                  <a:ext cx="347663" cy="103188"/>
                </a:xfrm>
                <a:custGeom>
                  <a:avLst/>
                  <a:gdLst>
                    <a:gd name="T0" fmla="*/ 83 w 101"/>
                    <a:gd name="T1" fmla="*/ 14 h 30"/>
                    <a:gd name="T2" fmla="*/ 49 w 101"/>
                    <a:gd name="T3" fmla="*/ 16 h 30"/>
                    <a:gd name="T4" fmla="*/ 44 w 101"/>
                    <a:gd name="T5" fmla="*/ 14 h 30"/>
                    <a:gd name="T6" fmla="*/ 42 w 101"/>
                    <a:gd name="T7" fmla="*/ 10 h 30"/>
                    <a:gd name="T8" fmla="*/ 16 w 101"/>
                    <a:gd name="T9" fmla="*/ 8 h 30"/>
                    <a:gd name="T10" fmla="*/ 1 w 101"/>
                    <a:gd name="T11" fmla="*/ 9 h 30"/>
                    <a:gd name="T12" fmla="*/ 2 w 101"/>
                    <a:gd name="T13" fmla="*/ 15 h 30"/>
                    <a:gd name="T14" fmla="*/ 6 w 101"/>
                    <a:gd name="T15" fmla="*/ 19 h 30"/>
                    <a:gd name="T16" fmla="*/ 37 w 101"/>
                    <a:gd name="T17" fmla="*/ 26 h 30"/>
                    <a:gd name="T18" fmla="*/ 76 w 101"/>
                    <a:gd name="T19" fmla="*/ 30 h 30"/>
                    <a:gd name="T20" fmla="*/ 90 w 101"/>
                    <a:gd name="T21" fmla="*/ 28 h 30"/>
                    <a:gd name="T22" fmla="*/ 99 w 101"/>
                    <a:gd name="T23" fmla="*/ 12 h 30"/>
                    <a:gd name="T24" fmla="*/ 83 w 101"/>
                    <a:gd name="T2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30">
                      <a:moveTo>
                        <a:pt x="83" y="14"/>
                      </a:moveTo>
                      <a:cubicBezTo>
                        <a:pt x="72" y="19"/>
                        <a:pt x="61" y="19"/>
                        <a:pt x="49" y="16"/>
                      </a:cubicBezTo>
                      <a:cubicBezTo>
                        <a:pt x="48" y="16"/>
                        <a:pt x="44" y="15"/>
                        <a:pt x="44" y="14"/>
                      </a:cubicBezTo>
                      <a:cubicBezTo>
                        <a:pt x="44" y="12"/>
                        <a:pt x="44" y="10"/>
                        <a:pt x="42" y="10"/>
                      </a:cubicBezTo>
                      <a:cubicBezTo>
                        <a:pt x="33" y="9"/>
                        <a:pt x="25" y="8"/>
                        <a:pt x="16" y="8"/>
                      </a:cubicBezTo>
                      <a:cubicBezTo>
                        <a:pt x="13" y="8"/>
                        <a:pt x="3" y="7"/>
                        <a:pt x="1" y="9"/>
                      </a:cubicBezTo>
                      <a:cubicBezTo>
                        <a:pt x="0" y="11"/>
                        <a:pt x="0" y="13"/>
                        <a:pt x="2" y="15"/>
                      </a:cubicBezTo>
                      <a:cubicBezTo>
                        <a:pt x="3" y="17"/>
                        <a:pt x="5" y="18"/>
                        <a:pt x="6" y="19"/>
                      </a:cubicBezTo>
                      <a:cubicBezTo>
                        <a:pt x="16" y="24"/>
                        <a:pt x="27" y="25"/>
                        <a:pt x="37" y="26"/>
                      </a:cubicBezTo>
                      <a:cubicBezTo>
                        <a:pt x="50" y="27"/>
                        <a:pt x="63" y="29"/>
                        <a:pt x="76" y="30"/>
                      </a:cubicBezTo>
                      <a:cubicBezTo>
                        <a:pt x="81" y="30"/>
                        <a:pt x="86" y="30"/>
                        <a:pt x="90" y="28"/>
                      </a:cubicBezTo>
                      <a:cubicBezTo>
                        <a:pt x="96" y="26"/>
                        <a:pt x="98" y="19"/>
                        <a:pt x="99" y="12"/>
                      </a:cubicBezTo>
                      <a:cubicBezTo>
                        <a:pt x="101" y="0"/>
                        <a:pt x="87" y="12"/>
                        <a:pt x="8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44">
                  <a:extLst>
                    <a:ext uri="{FF2B5EF4-FFF2-40B4-BE49-F238E27FC236}">
                      <a16:creationId xmlns:a16="http://schemas.microsoft.com/office/drawing/2014/main" id="{71A46A31-95A3-46DE-8659-B9F573207CC4}"/>
                    </a:ext>
                  </a:extLst>
                </p:cNvPr>
                <p:cNvSpPr>
                  <a:spLocks/>
                </p:cNvSpPr>
                <p:nvPr/>
              </p:nvSpPr>
              <p:spPr bwMode="auto">
                <a:xfrm>
                  <a:off x="3327400" y="3424238"/>
                  <a:ext cx="61913" cy="146050"/>
                </a:xfrm>
                <a:custGeom>
                  <a:avLst/>
                  <a:gdLst>
                    <a:gd name="T0" fmla="*/ 10 w 18"/>
                    <a:gd name="T1" fmla="*/ 5 h 42"/>
                    <a:gd name="T2" fmla="*/ 6 w 18"/>
                    <a:gd name="T3" fmla="*/ 0 h 42"/>
                    <a:gd name="T4" fmla="*/ 1 w 18"/>
                    <a:gd name="T5" fmla="*/ 4 h 42"/>
                    <a:gd name="T6" fmla="*/ 0 w 18"/>
                    <a:gd name="T7" fmla="*/ 11 h 42"/>
                    <a:gd name="T8" fmla="*/ 2 w 18"/>
                    <a:gd name="T9" fmla="*/ 31 h 42"/>
                    <a:gd name="T10" fmla="*/ 7 w 18"/>
                    <a:gd name="T11" fmla="*/ 40 h 42"/>
                    <a:gd name="T12" fmla="*/ 15 w 18"/>
                    <a:gd name="T13" fmla="*/ 38 h 42"/>
                    <a:gd name="T14" fmla="*/ 15 w 18"/>
                    <a:gd name="T15" fmla="*/ 25 h 42"/>
                    <a:gd name="T16" fmla="*/ 10 w 18"/>
                    <a:gd name="T17"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42">
                      <a:moveTo>
                        <a:pt x="10" y="5"/>
                      </a:moveTo>
                      <a:cubicBezTo>
                        <a:pt x="9" y="3"/>
                        <a:pt x="8" y="1"/>
                        <a:pt x="6" y="0"/>
                      </a:cubicBezTo>
                      <a:cubicBezTo>
                        <a:pt x="4" y="0"/>
                        <a:pt x="2" y="1"/>
                        <a:pt x="1" y="4"/>
                      </a:cubicBezTo>
                      <a:cubicBezTo>
                        <a:pt x="0" y="6"/>
                        <a:pt x="0" y="8"/>
                        <a:pt x="0" y="11"/>
                      </a:cubicBezTo>
                      <a:cubicBezTo>
                        <a:pt x="1" y="17"/>
                        <a:pt x="2" y="24"/>
                        <a:pt x="2" y="31"/>
                      </a:cubicBezTo>
                      <a:cubicBezTo>
                        <a:pt x="3" y="34"/>
                        <a:pt x="4" y="39"/>
                        <a:pt x="7" y="40"/>
                      </a:cubicBezTo>
                      <a:cubicBezTo>
                        <a:pt x="10" y="42"/>
                        <a:pt x="13" y="41"/>
                        <a:pt x="15" y="38"/>
                      </a:cubicBezTo>
                      <a:cubicBezTo>
                        <a:pt x="18" y="34"/>
                        <a:pt x="16" y="29"/>
                        <a:pt x="15" y="25"/>
                      </a:cubicBezTo>
                      <a:cubicBezTo>
                        <a:pt x="14" y="18"/>
                        <a:pt x="13" y="11"/>
                        <a:pt x="1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45">
                  <a:extLst>
                    <a:ext uri="{FF2B5EF4-FFF2-40B4-BE49-F238E27FC236}">
                      <a16:creationId xmlns:a16="http://schemas.microsoft.com/office/drawing/2014/main" id="{18A84036-137F-4B46-AC25-FF15DE515207}"/>
                    </a:ext>
                  </a:extLst>
                </p:cNvPr>
                <p:cNvSpPr>
                  <a:spLocks/>
                </p:cNvSpPr>
                <p:nvPr/>
              </p:nvSpPr>
              <p:spPr bwMode="auto">
                <a:xfrm>
                  <a:off x="3355975" y="3600451"/>
                  <a:ext cx="1270000" cy="963613"/>
                </a:xfrm>
                <a:custGeom>
                  <a:avLst/>
                  <a:gdLst>
                    <a:gd name="T0" fmla="*/ 347 w 368"/>
                    <a:gd name="T1" fmla="*/ 65 h 279"/>
                    <a:gd name="T2" fmla="*/ 318 w 368"/>
                    <a:gd name="T3" fmla="*/ 41 h 279"/>
                    <a:gd name="T4" fmla="*/ 234 w 368"/>
                    <a:gd name="T5" fmla="*/ 49 h 279"/>
                    <a:gd name="T6" fmla="*/ 141 w 368"/>
                    <a:gd name="T7" fmla="*/ 74 h 279"/>
                    <a:gd name="T8" fmla="*/ 40 w 368"/>
                    <a:gd name="T9" fmla="*/ 0 h 279"/>
                    <a:gd name="T10" fmla="*/ 0 w 368"/>
                    <a:gd name="T11" fmla="*/ 43 h 279"/>
                    <a:gd name="T12" fmla="*/ 100 w 368"/>
                    <a:gd name="T13" fmla="*/ 145 h 279"/>
                    <a:gd name="T14" fmla="*/ 213 w 368"/>
                    <a:gd name="T15" fmla="*/ 155 h 279"/>
                    <a:gd name="T16" fmla="*/ 216 w 368"/>
                    <a:gd name="T17" fmla="*/ 253 h 279"/>
                    <a:gd name="T18" fmla="*/ 356 w 368"/>
                    <a:gd name="T19" fmla="*/ 258 h 279"/>
                    <a:gd name="T20" fmla="*/ 360 w 368"/>
                    <a:gd name="T21" fmla="*/ 156 h 279"/>
                    <a:gd name="T22" fmla="*/ 347 w 368"/>
                    <a:gd name="T23" fmla="*/ 6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8" h="279">
                      <a:moveTo>
                        <a:pt x="347" y="65"/>
                      </a:moveTo>
                      <a:cubicBezTo>
                        <a:pt x="345" y="51"/>
                        <a:pt x="333" y="40"/>
                        <a:pt x="318" y="41"/>
                      </a:cubicBezTo>
                      <a:cubicBezTo>
                        <a:pt x="288" y="42"/>
                        <a:pt x="242" y="45"/>
                        <a:pt x="234" y="49"/>
                      </a:cubicBezTo>
                      <a:cubicBezTo>
                        <a:pt x="225" y="54"/>
                        <a:pt x="161" y="74"/>
                        <a:pt x="141" y="74"/>
                      </a:cubicBezTo>
                      <a:cubicBezTo>
                        <a:pt x="121" y="74"/>
                        <a:pt x="40" y="0"/>
                        <a:pt x="40" y="0"/>
                      </a:cubicBezTo>
                      <a:cubicBezTo>
                        <a:pt x="0" y="43"/>
                        <a:pt x="0" y="43"/>
                        <a:pt x="0" y="43"/>
                      </a:cubicBezTo>
                      <a:cubicBezTo>
                        <a:pt x="0" y="43"/>
                        <a:pt x="73" y="134"/>
                        <a:pt x="100" y="145"/>
                      </a:cubicBezTo>
                      <a:cubicBezTo>
                        <a:pt x="127" y="155"/>
                        <a:pt x="213" y="155"/>
                        <a:pt x="213" y="155"/>
                      </a:cubicBezTo>
                      <a:cubicBezTo>
                        <a:pt x="216" y="253"/>
                        <a:pt x="216" y="253"/>
                        <a:pt x="216" y="253"/>
                      </a:cubicBezTo>
                      <a:cubicBezTo>
                        <a:pt x="216" y="253"/>
                        <a:pt x="343" y="279"/>
                        <a:pt x="356" y="258"/>
                      </a:cubicBezTo>
                      <a:cubicBezTo>
                        <a:pt x="368" y="237"/>
                        <a:pt x="360" y="156"/>
                        <a:pt x="360" y="156"/>
                      </a:cubicBezTo>
                      <a:cubicBezTo>
                        <a:pt x="347" y="65"/>
                        <a:pt x="347" y="65"/>
                        <a:pt x="347" y="6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46">
                  <a:extLst>
                    <a:ext uri="{FF2B5EF4-FFF2-40B4-BE49-F238E27FC236}">
                      <a16:creationId xmlns:a16="http://schemas.microsoft.com/office/drawing/2014/main" id="{12E1A23F-BAC5-401C-AC05-E2099A7C167B}"/>
                    </a:ext>
                  </a:extLst>
                </p:cNvPr>
                <p:cNvSpPr>
                  <a:spLocks/>
                </p:cNvSpPr>
                <p:nvPr/>
              </p:nvSpPr>
              <p:spPr bwMode="auto">
                <a:xfrm>
                  <a:off x="4229100" y="3308351"/>
                  <a:ext cx="76200" cy="147638"/>
                </a:xfrm>
                <a:custGeom>
                  <a:avLst/>
                  <a:gdLst>
                    <a:gd name="T0" fmla="*/ 14 w 22"/>
                    <a:gd name="T1" fmla="*/ 22 h 43"/>
                    <a:gd name="T2" fmla="*/ 5 w 22"/>
                    <a:gd name="T3" fmla="*/ 38 h 43"/>
                    <a:gd name="T4" fmla="*/ 3 w 22"/>
                    <a:gd name="T5" fmla="*/ 39 h 43"/>
                    <a:gd name="T6" fmla="*/ 4 w 22"/>
                    <a:gd name="T7" fmla="*/ 39 h 43"/>
                    <a:gd name="T8" fmla="*/ 3 w 22"/>
                    <a:gd name="T9" fmla="*/ 39 h 43"/>
                    <a:gd name="T10" fmla="*/ 4 w 22"/>
                    <a:gd name="T11" fmla="*/ 39 h 43"/>
                    <a:gd name="T12" fmla="*/ 4 w 22"/>
                    <a:gd name="T13" fmla="*/ 39 h 43"/>
                    <a:gd name="T14" fmla="*/ 4 w 22"/>
                    <a:gd name="T15" fmla="*/ 40 h 43"/>
                    <a:gd name="T16" fmla="*/ 4 w 22"/>
                    <a:gd name="T17" fmla="*/ 40 h 43"/>
                    <a:gd name="T18" fmla="*/ 4 w 22"/>
                    <a:gd name="T19" fmla="*/ 39 h 43"/>
                    <a:gd name="T20" fmla="*/ 4 w 22"/>
                    <a:gd name="T21" fmla="*/ 39 h 43"/>
                    <a:gd name="T22" fmla="*/ 4 w 22"/>
                    <a:gd name="T23" fmla="*/ 37 h 43"/>
                    <a:gd name="T24" fmla="*/ 14 w 22"/>
                    <a:gd name="T25" fmla="*/ 8 h 43"/>
                    <a:gd name="T26" fmla="*/ 18 w 22"/>
                    <a:gd name="T27" fmla="*/ 4 h 43"/>
                    <a:gd name="T28" fmla="*/ 18 w 22"/>
                    <a:gd name="T29" fmla="*/ 4 h 43"/>
                    <a:gd name="T30" fmla="*/ 18 w 22"/>
                    <a:gd name="T31" fmla="*/ 4 h 43"/>
                    <a:gd name="T32" fmla="*/ 18 w 22"/>
                    <a:gd name="T33" fmla="*/ 3 h 43"/>
                    <a:gd name="T34" fmla="*/ 18 w 22"/>
                    <a:gd name="T35" fmla="*/ 3 h 43"/>
                    <a:gd name="T36" fmla="*/ 18 w 22"/>
                    <a:gd name="T37" fmla="*/ 4 h 43"/>
                    <a:gd name="T38" fmla="*/ 18 w 22"/>
                    <a:gd name="T39" fmla="*/ 4 h 43"/>
                    <a:gd name="T40" fmla="*/ 18 w 22"/>
                    <a:gd name="T41" fmla="*/ 3 h 43"/>
                    <a:gd name="T42" fmla="*/ 18 w 22"/>
                    <a:gd name="T43" fmla="*/ 3 h 43"/>
                    <a:gd name="T44" fmla="*/ 18 w 22"/>
                    <a:gd name="T45" fmla="*/ 3 h 43"/>
                    <a:gd name="T46" fmla="*/ 14 w 22"/>
                    <a:gd name="T47" fmla="*/ 22 h 43"/>
                    <a:gd name="T48" fmla="*/ 17 w 22"/>
                    <a:gd name="T49" fmla="*/ 24 h 43"/>
                    <a:gd name="T50" fmla="*/ 21 w 22"/>
                    <a:gd name="T51" fmla="*/ 2 h 43"/>
                    <a:gd name="T52" fmla="*/ 19 w 22"/>
                    <a:gd name="T53" fmla="*/ 0 h 43"/>
                    <a:gd name="T54" fmla="*/ 14 w 22"/>
                    <a:gd name="T55" fmla="*/ 1 h 43"/>
                    <a:gd name="T56" fmla="*/ 4 w 22"/>
                    <a:gd name="T57" fmla="*/ 19 h 43"/>
                    <a:gd name="T58" fmla="*/ 0 w 22"/>
                    <a:gd name="T59" fmla="*/ 40 h 43"/>
                    <a:gd name="T60" fmla="*/ 2 w 22"/>
                    <a:gd name="T61" fmla="*/ 43 h 43"/>
                    <a:gd name="T62" fmla="*/ 7 w 22"/>
                    <a:gd name="T63" fmla="*/ 41 h 43"/>
                    <a:gd name="T64" fmla="*/ 17 w 22"/>
                    <a:gd name="T65" fmla="*/ 2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43">
                      <a:moveTo>
                        <a:pt x="15" y="23"/>
                      </a:moveTo>
                      <a:cubicBezTo>
                        <a:pt x="14" y="22"/>
                        <a:pt x="14" y="22"/>
                        <a:pt x="14" y="22"/>
                      </a:cubicBezTo>
                      <a:cubicBezTo>
                        <a:pt x="12" y="27"/>
                        <a:pt x="9" y="32"/>
                        <a:pt x="7" y="35"/>
                      </a:cubicBezTo>
                      <a:cubicBezTo>
                        <a:pt x="6" y="36"/>
                        <a:pt x="5" y="37"/>
                        <a:pt x="5" y="38"/>
                      </a:cubicBezTo>
                      <a:cubicBezTo>
                        <a:pt x="4" y="39"/>
                        <a:pt x="4" y="39"/>
                        <a:pt x="4" y="39"/>
                      </a:cubicBezTo>
                      <a:cubicBezTo>
                        <a:pt x="3" y="39"/>
                        <a:pt x="3" y="39"/>
                        <a:pt x="3" y="39"/>
                      </a:cubicBezTo>
                      <a:cubicBezTo>
                        <a:pt x="3" y="39"/>
                        <a:pt x="3" y="39"/>
                        <a:pt x="3" y="39"/>
                      </a:cubicBezTo>
                      <a:cubicBezTo>
                        <a:pt x="4" y="39"/>
                        <a:pt x="4" y="39"/>
                        <a:pt x="4" y="39"/>
                      </a:cubicBezTo>
                      <a:cubicBezTo>
                        <a:pt x="4" y="39"/>
                        <a:pt x="4" y="39"/>
                        <a:pt x="4" y="39"/>
                      </a:cubicBezTo>
                      <a:cubicBezTo>
                        <a:pt x="3" y="39"/>
                        <a:pt x="3" y="39"/>
                        <a:pt x="3" y="39"/>
                      </a:cubicBezTo>
                      <a:cubicBezTo>
                        <a:pt x="4" y="39"/>
                        <a:pt x="4" y="39"/>
                        <a:pt x="4" y="39"/>
                      </a:cubicBezTo>
                      <a:cubicBezTo>
                        <a:pt x="4" y="39"/>
                        <a:pt x="4" y="39"/>
                        <a:pt x="4" y="39"/>
                      </a:cubicBezTo>
                      <a:cubicBezTo>
                        <a:pt x="4" y="40"/>
                        <a:pt x="4" y="40"/>
                        <a:pt x="4" y="40"/>
                      </a:cubicBezTo>
                      <a:cubicBezTo>
                        <a:pt x="4" y="39"/>
                        <a:pt x="4" y="39"/>
                        <a:pt x="4" y="39"/>
                      </a:cubicBezTo>
                      <a:cubicBezTo>
                        <a:pt x="4" y="39"/>
                        <a:pt x="4" y="39"/>
                        <a:pt x="4" y="39"/>
                      </a:cubicBezTo>
                      <a:cubicBezTo>
                        <a:pt x="4" y="40"/>
                        <a:pt x="4" y="40"/>
                        <a:pt x="4" y="40"/>
                      </a:cubicBezTo>
                      <a:cubicBezTo>
                        <a:pt x="4" y="39"/>
                        <a:pt x="4" y="39"/>
                        <a:pt x="4" y="39"/>
                      </a:cubicBezTo>
                      <a:cubicBezTo>
                        <a:pt x="4" y="40"/>
                        <a:pt x="4" y="40"/>
                        <a:pt x="4" y="40"/>
                      </a:cubicBezTo>
                      <a:cubicBezTo>
                        <a:pt x="4" y="39"/>
                        <a:pt x="4" y="39"/>
                        <a:pt x="4" y="39"/>
                      </a:cubicBezTo>
                      <a:cubicBezTo>
                        <a:pt x="4" y="39"/>
                        <a:pt x="4" y="39"/>
                        <a:pt x="4" y="39"/>
                      </a:cubicBezTo>
                      <a:cubicBezTo>
                        <a:pt x="4" y="40"/>
                        <a:pt x="4" y="40"/>
                        <a:pt x="4" y="40"/>
                      </a:cubicBezTo>
                      <a:cubicBezTo>
                        <a:pt x="4" y="39"/>
                        <a:pt x="4" y="39"/>
                        <a:pt x="4" y="39"/>
                      </a:cubicBezTo>
                      <a:cubicBezTo>
                        <a:pt x="4" y="39"/>
                        <a:pt x="4" y="39"/>
                        <a:pt x="4" y="39"/>
                      </a:cubicBezTo>
                      <a:cubicBezTo>
                        <a:pt x="4" y="39"/>
                        <a:pt x="4" y="38"/>
                        <a:pt x="4" y="37"/>
                      </a:cubicBezTo>
                      <a:cubicBezTo>
                        <a:pt x="4" y="34"/>
                        <a:pt x="5" y="27"/>
                        <a:pt x="8" y="20"/>
                      </a:cubicBezTo>
                      <a:cubicBezTo>
                        <a:pt x="10" y="15"/>
                        <a:pt x="12" y="11"/>
                        <a:pt x="14" y="8"/>
                      </a:cubicBezTo>
                      <a:cubicBezTo>
                        <a:pt x="15" y="6"/>
                        <a:pt x="16" y="5"/>
                        <a:pt x="17" y="4"/>
                      </a:cubicBezTo>
                      <a:cubicBezTo>
                        <a:pt x="17" y="4"/>
                        <a:pt x="18" y="4"/>
                        <a:pt x="18" y="4"/>
                      </a:cubicBezTo>
                      <a:cubicBezTo>
                        <a:pt x="18" y="4"/>
                        <a:pt x="18" y="4"/>
                        <a:pt x="18" y="4"/>
                      </a:cubicBezTo>
                      <a:cubicBezTo>
                        <a:pt x="18" y="4"/>
                        <a:pt x="18" y="4"/>
                        <a:pt x="18" y="4"/>
                      </a:cubicBezTo>
                      <a:cubicBezTo>
                        <a:pt x="18" y="3"/>
                        <a:pt x="18" y="3"/>
                        <a:pt x="18" y="3"/>
                      </a:cubicBezTo>
                      <a:cubicBezTo>
                        <a:pt x="18" y="4"/>
                        <a:pt x="18" y="4"/>
                        <a:pt x="18" y="4"/>
                      </a:cubicBezTo>
                      <a:cubicBezTo>
                        <a:pt x="18" y="4"/>
                        <a:pt x="18" y="4"/>
                        <a:pt x="18" y="4"/>
                      </a:cubicBezTo>
                      <a:cubicBezTo>
                        <a:pt x="18" y="3"/>
                        <a:pt x="18" y="3"/>
                        <a:pt x="18" y="3"/>
                      </a:cubicBezTo>
                      <a:cubicBezTo>
                        <a:pt x="18" y="4"/>
                        <a:pt x="18" y="4"/>
                        <a:pt x="18" y="4"/>
                      </a:cubicBezTo>
                      <a:cubicBezTo>
                        <a:pt x="18" y="3"/>
                        <a:pt x="18" y="3"/>
                        <a:pt x="18" y="3"/>
                      </a:cubicBezTo>
                      <a:cubicBezTo>
                        <a:pt x="18" y="4"/>
                        <a:pt x="18" y="4"/>
                        <a:pt x="18" y="4"/>
                      </a:cubicBezTo>
                      <a:cubicBezTo>
                        <a:pt x="18" y="4"/>
                        <a:pt x="18" y="4"/>
                        <a:pt x="18" y="4"/>
                      </a:cubicBezTo>
                      <a:cubicBezTo>
                        <a:pt x="18" y="3"/>
                        <a:pt x="18" y="3"/>
                        <a:pt x="18" y="3"/>
                      </a:cubicBezTo>
                      <a:cubicBezTo>
                        <a:pt x="18" y="4"/>
                        <a:pt x="18" y="4"/>
                        <a:pt x="18" y="4"/>
                      </a:cubicBezTo>
                      <a:cubicBezTo>
                        <a:pt x="18" y="3"/>
                        <a:pt x="18" y="3"/>
                        <a:pt x="18" y="3"/>
                      </a:cubicBezTo>
                      <a:cubicBezTo>
                        <a:pt x="18" y="3"/>
                        <a:pt x="18" y="3"/>
                        <a:pt x="18" y="3"/>
                      </a:cubicBezTo>
                      <a:cubicBezTo>
                        <a:pt x="18" y="4"/>
                        <a:pt x="18" y="4"/>
                        <a:pt x="18" y="4"/>
                      </a:cubicBezTo>
                      <a:cubicBezTo>
                        <a:pt x="18" y="3"/>
                        <a:pt x="18" y="3"/>
                        <a:pt x="18" y="3"/>
                      </a:cubicBezTo>
                      <a:cubicBezTo>
                        <a:pt x="18" y="3"/>
                        <a:pt x="18" y="3"/>
                        <a:pt x="18" y="3"/>
                      </a:cubicBezTo>
                      <a:cubicBezTo>
                        <a:pt x="18" y="3"/>
                        <a:pt x="18" y="3"/>
                        <a:pt x="18" y="3"/>
                      </a:cubicBezTo>
                      <a:cubicBezTo>
                        <a:pt x="18" y="3"/>
                        <a:pt x="18" y="4"/>
                        <a:pt x="18" y="5"/>
                      </a:cubicBezTo>
                      <a:cubicBezTo>
                        <a:pt x="18" y="9"/>
                        <a:pt x="16" y="15"/>
                        <a:pt x="14" y="22"/>
                      </a:cubicBezTo>
                      <a:cubicBezTo>
                        <a:pt x="15" y="23"/>
                        <a:pt x="15" y="23"/>
                        <a:pt x="15" y="23"/>
                      </a:cubicBezTo>
                      <a:cubicBezTo>
                        <a:pt x="17" y="24"/>
                        <a:pt x="17" y="24"/>
                        <a:pt x="17" y="24"/>
                      </a:cubicBezTo>
                      <a:cubicBezTo>
                        <a:pt x="20" y="16"/>
                        <a:pt x="22" y="10"/>
                        <a:pt x="22" y="5"/>
                      </a:cubicBezTo>
                      <a:cubicBezTo>
                        <a:pt x="22" y="4"/>
                        <a:pt x="22" y="3"/>
                        <a:pt x="21" y="2"/>
                      </a:cubicBezTo>
                      <a:cubicBezTo>
                        <a:pt x="21" y="2"/>
                        <a:pt x="21" y="1"/>
                        <a:pt x="21" y="1"/>
                      </a:cubicBezTo>
                      <a:cubicBezTo>
                        <a:pt x="20" y="0"/>
                        <a:pt x="20" y="0"/>
                        <a:pt x="19" y="0"/>
                      </a:cubicBezTo>
                      <a:cubicBezTo>
                        <a:pt x="19" y="0"/>
                        <a:pt x="18" y="0"/>
                        <a:pt x="18" y="0"/>
                      </a:cubicBezTo>
                      <a:cubicBezTo>
                        <a:pt x="16" y="0"/>
                        <a:pt x="15" y="0"/>
                        <a:pt x="14" y="1"/>
                      </a:cubicBezTo>
                      <a:cubicBezTo>
                        <a:pt x="13" y="3"/>
                        <a:pt x="11" y="5"/>
                        <a:pt x="9" y="8"/>
                      </a:cubicBezTo>
                      <a:cubicBezTo>
                        <a:pt x="8" y="11"/>
                        <a:pt x="6" y="15"/>
                        <a:pt x="4" y="19"/>
                      </a:cubicBezTo>
                      <a:cubicBezTo>
                        <a:pt x="1" y="26"/>
                        <a:pt x="0" y="33"/>
                        <a:pt x="0" y="37"/>
                      </a:cubicBezTo>
                      <a:cubicBezTo>
                        <a:pt x="0" y="38"/>
                        <a:pt x="0" y="39"/>
                        <a:pt x="0" y="40"/>
                      </a:cubicBezTo>
                      <a:cubicBezTo>
                        <a:pt x="0" y="41"/>
                        <a:pt x="1" y="41"/>
                        <a:pt x="1" y="42"/>
                      </a:cubicBezTo>
                      <a:cubicBezTo>
                        <a:pt x="1" y="42"/>
                        <a:pt x="2" y="42"/>
                        <a:pt x="2" y="43"/>
                      </a:cubicBezTo>
                      <a:cubicBezTo>
                        <a:pt x="3" y="43"/>
                        <a:pt x="3" y="43"/>
                        <a:pt x="4" y="43"/>
                      </a:cubicBezTo>
                      <a:cubicBezTo>
                        <a:pt x="5" y="43"/>
                        <a:pt x="6" y="42"/>
                        <a:pt x="7" y="41"/>
                      </a:cubicBezTo>
                      <a:cubicBezTo>
                        <a:pt x="9" y="39"/>
                        <a:pt x="11" y="37"/>
                        <a:pt x="12" y="34"/>
                      </a:cubicBezTo>
                      <a:cubicBezTo>
                        <a:pt x="14" y="31"/>
                        <a:pt x="16" y="28"/>
                        <a:pt x="17" y="24"/>
                      </a:cubicBezTo>
                      <a:cubicBezTo>
                        <a:pt x="15" y="23"/>
                        <a:pt x="15" y="23"/>
                        <a:pt x="1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47">
                  <a:extLst>
                    <a:ext uri="{FF2B5EF4-FFF2-40B4-BE49-F238E27FC236}">
                      <a16:creationId xmlns:a16="http://schemas.microsoft.com/office/drawing/2014/main" id="{9271EA97-D38F-4C0F-8FE0-4C03A0F35D33}"/>
                    </a:ext>
                  </a:extLst>
                </p:cNvPr>
                <p:cNvSpPr>
                  <a:spLocks/>
                </p:cNvSpPr>
                <p:nvPr/>
              </p:nvSpPr>
              <p:spPr bwMode="auto">
                <a:xfrm>
                  <a:off x="4246563" y="3373438"/>
                  <a:ext cx="227013" cy="88900"/>
                </a:xfrm>
                <a:custGeom>
                  <a:avLst/>
                  <a:gdLst>
                    <a:gd name="T0" fmla="*/ 0 w 66"/>
                    <a:gd name="T1" fmla="*/ 3 h 26"/>
                    <a:gd name="T2" fmla="*/ 1 w 66"/>
                    <a:gd name="T3" fmla="*/ 3 h 26"/>
                    <a:gd name="T4" fmla="*/ 36 w 66"/>
                    <a:gd name="T5" fmla="*/ 16 h 26"/>
                    <a:gd name="T6" fmla="*/ 56 w 66"/>
                    <a:gd name="T7" fmla="*/ 23 h 26"/>
                    <a:gd name="T8" fmla="*/ 65 w 66"/>
                    <a:gd name="T9" fmla="*/ 26 h 26"/>
                    <a:gd name="T10" fmla="*/ 66 w 66"/>
                    <a:gd name="T11" fmla="*/ 24 h 26"/>
                    <a:gd name="T12" fmla="*/ 34 w 66"/>
                    <a:gd name="T13" fmla="*/ 12 h 26"/>
                    <a:gd name="T14" fmla="*/ 12 w 66"/>
                    <a:gd name="T15" fmla="*/ 4 h 26"/>
                    <a:gd name="T16" fmla="*/ 5 w 66"/>
                    <a:gd name="T17" fmla="*/ 1 h 26"/>
                    <a:gd name="T18" fmla="*/ 2 w 66"/>
                    <a:gd name="T19" fmla="*/ 0 h 26"/>
                    <a:gd name="T20" fmla="*/ 1 w 66"/>
                    <a:gd name="T21" fmla="*/ 0 h 26"/>
                    <a:gd name="T22" fmla="*/ 0 w 66"/>
                    <a:gd name="T23"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26">
                      <a:moveTo>
                        <a:pt x="0" y="3"/>
                      </a:moveTo>
                      <a:cubicBezTo>
                        <a:pt x="0" y="3"/>
                        <a:pt x="1" y="3"/>
                        <a:pt x="1" y="3"/>
                      </a:cubicBezTo>
                      <a:cubicBezTo>
                        <a:pt x="6" y="5"/>
                        <a:pt x="21" y="10"/>
                        <a:pt x="36" y="16"/>
                      </a:cubicBezTo>
                      <a:cubicBezTo>
                        <a:pt x="44" y="19"/>
                        <a:pt x="51" y="21"/>
                        <a:pt x="56" y="23"/>
                      </a:cubicBezTo>
                      <a:cubicBezTo>
                        <a:pt x="61" y="25"/>
                        <a:pt x="65" y="26"/>
                        <a:pt x="65" y="26"/>
                      </a:cubicBezTo>
                      <a:cubicBezTo>
                        <a:pt x="66" y="24"/>
                        <a:pt x="66" y="24"/>
                        <a:pt x="66" y="24"/>
                      </a:cubicBezTo>
                      <a:cubicBezTo>
                        <a:pt x="66" y="24"/>
                        <a:pt x="50" y="18"/>
                        <a:pt x="34" y="12"/>
                      </a:cubicBezTo>
                      <a:cubicBezTo>
                        <a:pt x="26" y="9"/>
                        <a:pt x="18" y="6"/>
                        <a:pt x="12" y="4"/>
                      </a:cubicBezTo>
                      <a:cubicBezTo>
                        <a:pt x="9" y="3"/>
                        <a:pt x="6" y="2"/>
                        <a:pt x="5" y="1"/>
                      </a:cubicBezTo>
                      <a:cubicBezTo>
                        <a:pt x="4" y="1"/>
                        <a:pt x="3" y="0"/>
                        <a:pt x="2" y="0"/>
                      </a:cubicBezTo>
                      <a:cubicBezTo>
                        <a:pt x="2" y="0"/>
                        <a:pt x="1" y="0"/>
                        <a:pt x="1" y="0"/>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48">
                  <a:extLst>
                    <a:ext uri="{FF2B5EF4-FFF2-40B4-BE49-F238E27FC236}">
                      <a16:creationId xmlns:a16="http://schemas.microsoft.com/office/drawing/2014/main" id="{C0539916-645F-4F82-AFA0-E95773F95BD3}"/>
                    </a:ext>
                  </a:extLst>
                </p:cNvPr>
                <p:cNvSpPr>
                  <a:spLocks/>
                </p:cNvSpPr>
                <p:nvPr/>
              </p:nvSpPr>
              <p:spPr bwMode="auto">
                <a:xfrm>
                  <a:off x="4338638" y="3252788"/>
                  <a:ext cx="581025" cy="1004888"/>
                </a:xfrm>
                <a:custGeom>
                  <a:avLst/>
                  <a:gdLst>
                    <a:gd name="T0" fmla="*/ 29 w 168"/>
                    <a:gd name="T1" fmla="*/ 42 h 291"/>
                    <a:gd name="T2" fmla="*/ 32 w 168"/>
                    <a:gd name="T3" fmla="*/ 63 h 291"/>
                    <a:gd name="T4" fmla="*/ 44 w 168"/>
                    <a:gd name="T5" fmla="*/ 67 h 291"/>
                    <a:gd name="T6" fmla="*/ 58 w 168"/>
                    <a:gd name="T7" fmla="*/ 83 h 291"/>
                    <a:gd name="T8" fmla="*/ 48 w 168"/>
                    <a:gd name="T9" fmla="*/ 102 h 291"/>
                    <a:gd name="T10" fmla="*/ 42 w 168"/>
                    <a:gd name="T11" fmla="*/ 105 h 291"/>
                    <a:gd name="T12" fmla="*/ 41 w 168"/>
                    <a:gd name="T13" fmla="*/ 117 h 291"/>
                    <a:gd name="T14" fmla="*/ 46 w 168"/>
                    <a:gd name="T15" fmla="*/ 129 h 291"/>
                    <a:gd name="T16" fmla="*/ 40 w 168"/>
                    <a:gd name="T17" fmla="*/ 151 h 291"/>
                    <a:gd name="T18" fmla="*/ 47 w 168"/>
                    <a:gd name="T19" fmla="*/ 224 h 291"/>
                    <a:gd name="T20" fmla="*/ 78 w 168"/>
                    <a:gd name="T21" fmla="*/ 272 h 291"/>
                    <a:gd name="T22" fmla="*/ 130 w 168"/>
                    <a:gd name="T23" fmla="*/ 287 h 291"/>
                    <a:gd name="T24" fmla="*/ 162 w 168"/>
                    <a:gd name="T25" fmla="*/ 246 h 291"/>
                    <a:gd name="T26" fmla="*/ 156 w 168"/>
                    <a:gd name="T27" fmla="*/ 226 h 291"/>
                    <a:gd name="T28" fmla="*/ 152 w 168"/>
                    <a:gd name="T29" fmla="*/ 168 h 291"/>
                    <a:gd name="T30" fmla="*/ 165 w 168"/>
                    <a:gd name="T31" fmla="*/ 139 h 291"/>
                    <a:gd name="T32" fmla="*/ 148 w 168"/>
                    <a:gd name="T33" fmla="*/ 103 h 291"/>
                    <a:gd name="T34" fmla="*/ 112 w 168"/>
                    <a:gd name="T35" fmla="*/ 83 h 291"/>
                    <a:gd name="T36" fmla="*/ 84 w 168"/>
                    <a:gd name="T37" fmla="*/ 53 h 291"/>
                    <a:gd name="T38" fmla="*/ 79 w 168"/>
                    <a:gd name="T39" fmla="*/ 24 h 291"/>
                    <a:gd name="T40" fmla="*/ 48 w 168"/>
                    <a:gd name="T41" fmla="*/ 1 h 291"/>
                    <a:gd name="T42" fmla="*/ 6 w 168"/>
                    <a:gd name="T43" fmla="*/ 14 h 291"/>
                    <a:gd name="T44" fmla="*/ 29 w 168"/>
                    <a:gd name="T45" fmla="*/ 4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91">
                      <a:moveTo>
                        <a:pt x="29" y="42"/>
                      </a:moveTo>
                      <a:cubicBezTo>
                        <a:pt x="31" y="49"/>
                        <a:pt x="27" y="58"/>
                        <a:pt x="32" y="63"/>
                      </a:cubicBezTo>
                      <a:cubicBezTo>
                        <a:pt x="35" y="66"/>
                        <a:pt x="40" y="66"/>
                        <a:pt x="44" y="67"/>
                      </a:cubicBezTo>
                      <a:cubicBezTo>
                        <a:pt x="51" y="69"/>
                        <a:pt x="57" y="75"/>
                        <a:pt x="58" y="83"/>
                      </a:cubicBezTo>
                      <a:cubicBezTo>
                        <a:pt x="59" y="90"/>
                        <a:pt x="55" y="98"/>
                        <a:pt x="48" y="102"/>
                      </a:cubicBezTo>
                      <a:cubicBezTo>
                        <a:pt x="46" y="103"/>
                        <a:pt x="44" y="103"/>
                        <a:pt x="42" y="105"/>
                      </a:cubicBezTo>
                      <a:cubicBezTo>
                        <a:pt x="39" y="108"/>
                        <a:pt x="39" y="113"/>
                        <a:pt x="41" y="117"/>
                      </a:cubicBezTo>
                      <a:cubicBezTo>
                        <a:pt x="42" y="121"/>
                        <a:pt x="45" y="125"/>
                        <a:pt x="46" y="129"/>
                      </a:cubicBezTo>
                      <a:cubicBezTo>
                        <a:pt x="47" y="137"/>
                        <a:pt x="43" y="144"/>
                        <a:pt x="40" y="151"/>
                      </a:cubicBezTo>
                      <a:cubicBezTo>
                        <a:pt x="31" y="175"/>
                        <a:pt x="37" y="201"/>
                        <a:pt x="47" y="224"/>
                      </a:cubicBezTo>
                      <a:cubicBezTo>
                        <a:pt x="54" y="242"/>
                        <a:pt x="63" y="259"/>
                        <a:pt x="78" y="272"/>
                      </a:cubicBezTo>
                      <a:cubicBezTo>
                        <a:pt x="92" y="284"/>
                        <a:pt x="112" y="291"/>
                        <a:pt x="130" y="287"/>
                      </a:cubicBezTo>
                      <a:cubicBezTo>
                        <a:pt x="149" y="283"/>
                        <a:pt x="164" y="265"/>
                        <a:pt x="162" y="246"/>
                      </a:cubicBezTo>
                      <a:cubicBezTo>
                        <a:pt x="162" y="239"/>
                        <a:pt x="159" y="233"/>
                        <a:pt x="156" y="226"/>
                      </a:cubicBezTo>
                      <a:cubicBezTo>
                        <a:pt x="149" y="207"/>
                        <a:pt x="144" y="186"/>
                        <a:pt x="152" y="168"/>
                      </a:cubicBezTo>
                      <a:cubicBezTo>
                        <a:pt x="156" y="158"/>
                        <a:pt x="163" y="149"/>
                        <a:pt x="165" y="139"/>
                      </a:cubicBezTo>
                      <a:cubicBezTo>
                        <a:pt x="168" y="125"/>
                        <a:pt x="159" y="111"/>
                        <a:pt x="148" y="103"/>
                      </a:cubicBezTo>
                      <a:cubicBezTo>
                        <a:pt x="137" y="94"/>
                        <a:pt x="124" y="89"/>
                        <a:pt x="112" y="83"/>
                      </a:cubicBezTo>
                      <a:cubicBezTo>
                        <a:pt x="100" y="76"/>
                        <a:pt x="88" y="66"/>
                        <a:pt x="84" y="53"/>
                      </a:cubicBezTo>
                      <a:cubicBezTo>
                        <a:pt x="81" y="44"/>
                        <a:pt x="82" y="33"/>
                        <a:pt x="79" y="24"/>
                      </a:cubicBezTo>
                      <a:cubicBezTo>
                        <a:pt x="74" y="11"/>
                        <a:pt x="61" y="3"/>
                        <a:pt x="48" y="1"/>
                      </a:cubicBezTo>
                      <a:cubicBezTo>
                        <a:pt x="38" y="0"/>
                        <a:pt x="11" y="2"/>
                        <a:pt x="6" y="14"/>
                      </a:cubicBezTo>
                      <a:cubicBezTo>
                        <a:pt x="0" y="28"/>
                        <a:pt x="25" y="30"/>
                        <a:pt x="2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49">
                  <a:extLst>
                    <a:ext uri="{FF2B5EF4-FFF2-40B4-BE49-F238E27FC236}">
                      <a16:creationId xmlns:a16="http://schemas.microsoft.com/office/drawing/2014/main" id="{A67C1216-1AF7-4DDE-9ADA-48021745BC53}"/>
                    </a:ext>
                  </a:extLst>
                </p:cNvPr>
                <p:cNvSpPr>
                  <a:spLocks/>
                </p:cNvSpPr>
                <p:nvPr/>
              </p:nvSpPr>
              <p:spPr bwMode="auto">
                <a:xfrm>
                  <a:off x="4446588" y="3232151"/>
                  <a:ext cx="373063" cy="485775"/>
                </a:xfrm>
                <a:custGeom>
                  <a:avLst/>
                  <a:gdLst>
                    <a:gd name="T0" fmla="*/ 100 w 108"/>
                    <a:gd name="T1" fmla="*/ 111 h 141"/>
                    <a:gd name="T2" fmla="*/ 98 w 108"/>
                    <a:gd name="T3" fmla="*/ 78 h 141"/>
                    <a:gd name="T4" fmla="*/ 86 w 108"/>
                    <a:gd name="T5" fmla="*/ 70 h 141"/>
                    <a:gd name="T6" fmla="*/ 79 w 108"/>
                    <a:gd name="T7" fmla="*/ 47 h 141"/>
                    <a:gd name="T8" fmla="*/ 56 w 108"/>
                    <a:gd name="T9" fmla="*/ 11 h 141"/>
                    <a:gd name="T10" fmla="*/ 13 w 108"/>
                    <a:gd name="T11" fmla="*/ 4 h 141"/>
                    <a:gd name="T12" fmla="*/ 3 w 108"/>
                    <a:gd name="T13" fmla="*/ 9 h 141"/>
                    <a:gd name="T14" fmla="*/ 6 w 108"/>
                    <a:gd name="T15" fmla="*/ 25 h 141"/>
                    <a:gd name="T16" fmla="*/ 19 w 108"/>
                    <a:gd name="T17" fmla="*/ 35 h 141"/>
                    <a:gd name="T18" fmla="*/ 40 w 108"/>
                    <a:gd name="T19" fmla="*/ 75 h 141"/>
                    <a:gd name="T20" fmla="*/ 69 w 108"/>
                    <a:gd name="T21" fmla="*/ 122 h 141"/>
                    <a:gd name="T22" fmla="*/ 100 w 108"/>
                    <a:gd name="T23" fmla="*/ 11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41">
                      <a:moveTo>
                        <a:pt x="100" y="111"/>
                      </a:moveTo>
                      <a:cubicBezTo>
                        <a:pt x="107" y="101"/>
                        <a:pt x="108" y="86"/>
                        <a:pt x="98" y="78"/>
                      </a:cubicBezTo>
                      <a:cubicBezTo>
                        <a:pt x="94" y="75"/>
                        <a:pt x="89" y="73"/>
                        <a:pt x="86" y="70"/>
                      </a:cubicBezTo>
                      <a:cubicBezTo>
                        <a:pt x="80" y="64"/>
                        <a:pt x="80" y="55"/>
                        <a:pt x="79" y="47"/>
                      </a:cubicBezTo>
                      <a:cubicBezTo>
                        <a:pt x="77" y="32"/>
                        <a:pt x="68" y="19"/>
                        <a:pt x="56" y="11"/>
                      </a:cubicBezTo>
                      <a:cubicBezTo>
                        <a:pt x="43" y="2"/>
                        <a:pt x="27" y="0"/>
                        <a:pt x="13" y="4"/>
                      </a:cubicBezTo>
                      <a:cubicBezTo>
                        <a:pt x="9" y="5"/>
                        <a:pt x="6" y="6"/>
                        <a:pt x="3" y="9"/>
                      </a:cubicBezTo>
                      <a:cubicBezTo>
                        <a:pt x="0" y="14"/>
                        <a:pt x="2" y="20"/>
                        <a:pt x="6" y="25"/>
                      </a:cubicBezTo>
                      <a:cubicBezTo>
                        <a:pt x="10" y="29"/>
                        <a:pt x="15" y="32"/>
                        <a:pt x="19" y="35"/>
                      </a:cubicBezTo>
                      <a:cubicBezTo>
                        <a:pt x="30" y="45"/>
                        <a:pt x="34" y="61"/>
                        <a:pt x="40" y="75"/>
                      </a:cubicBezTo>
                      <a:cubicBezTo>
                        <a:pt x="47" y="92"/>
                        <a:pt x="57" y="108"/>
                        <a:pt x="69" y="122"/>
                      </a:cubicBezTo>
                      <a:cubicBezTo>
                        <a:pt x="86" y="141"/>
                        <a:pt x="90" y="128"/>
                        <a:pt x="10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50">
                  <a:extLst>
                    <a:ext uri="{FF2B5EF4-FFF2-40B4-BE49-F238E27FC236}">
                      <a16:creationId xmlns:a16="http://schemas.microsoft.com/office/drawing/2014/main" id="{FC232F20-12E3-46F4-8612-25FEE59918A0}"/>
                    </a:ext>
                  </a:extLst>
                </p:cNvPr>
                <p:cNvSpPr>
                  <a:spLocks/>
                </p:cNvSpPr>
                <p:nvPr/>
              </p:nvSpPr>
              <p:spPr bwMode="auto">
                <a:xfrm>
                  <a:off x="4649788" y="3756026"/>
                  <a:ext cx="328613" cy="349250"/>
                </a:xfrm>
                <a:custGeom>
                  <a:avLst/>
                  <a:gdLst>
                    <a:gd name="T0" fmla="*/ 90 w 95"/>
                    <a:gd name="T1" fmla="*/ 32 h 101"/>
                    <a:gd name="T2" fmla="*/ 93 w 95"/>
                    <a:gd name="T3" fmla="*/ 64 h 101"/>
                    <a:gd name="T4" fmla="*/ 80 w 95"/>
                    <a:gd name="T5" fmla="*/ 91 h 101"/>
                    <a:gd name="T6" fmla="*/ 69 w 95"/>
                    <a:gd name="T7" fmla="*/ 99 h 101"/>
                    <a:gd name="T8" fmla="*/ 54 w 95"/>
                    <a:gd name="T9" fmla="*/ 101 h 101"/>
                    <a:gd name="T10" fmla="*/ 9 w 95"/>
                    <a:gd name="T11" fmla="*/ 78 h 101"/>
                    <a:gd name="T12" fmla="*/ 28 w 95"/>
                    <a:gd name="T13" fmla="*/ 6 h 101"/>
                    <a:gd name="T14" fmla="*/ 90 w 95"/>
                    <a:gd name="T15" fmla="*/ 32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01">
                      <a:moveTo>
                        <a:pt x="90" y="32"/>
                      </a:moveTo>
                      <a:cubicBezTo>
                        <a:pt x="94" y="42"/>
                        <a:pt x="95" y="54"/>
                        <a:pt x="93" y="64"/>
                      </a:cubicBezTo>
                      <a:cubicBezTo>
                        <a:pt x="91" y="74"/>
                        <a:pt x="86" y="83"/>
                        <a:pt x="80" y="91"/>
                      </a:cubicBezTo>
                      <a:cubicBezTo>
                        <a:pt x="77" y="94"/>
                        <a:pt x="73" y="98"/>
                        <a:pt x="69" y="99"/>
                      </a:cubicBezTo>
                      <a:cubicBezTo>
                        <a:pt x="65" y="101"/>
                        <a:pt x="59" y="101"/>
                        <a:pt x="54" y="101"/>
                      </a:cubicBezTo>
                      <a:cubicBezTo>
                        <a:pt x="37" y="99"/>
                        <a:pt x="18" y="93"/>
                        <a:pt x="9" y="78"/>
                      </a:cubicBezTo>
                      <a:cubicBezTo>
                        <a:pt x="0" y="60"/>
                        <a:pt x="5" y="12"/>
                        <a:pt x="28" y="6"/>
                      </a:cubicBezTo>
                      <a:cubicBezTo>
                        <a:pt x="48" y="0"/>
                        <a:pt x="81" y="13"/>
                        <a:pt x="90" y="3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51">
                  <a:extLst>
                    <a:ext uri="{FF2B5EF4-FFF2-40B4-BE49-F238E27FC236}">
                      <a16:creationId xmlns:a16="http://schemas.microsoft.com/office/drawing/2014/main" id="{297B0459-70E3-45BE-9DF5-05EF5CBAF2CD}"/>
                    </a:ext>
                  </a:extLst>
                </p:cNvPr>
                <p:cNvSpPr>
                  <a:spLocks/>
                </p:cNvSpPr>
                <p:nvPr/>
              </p:nvSpPr>
              <p:spPr bwMode="auto">
                <a:xfrm>
                  <a:off x="4341813" y="2324101"/>
                  <a:ext cx="963613" cy="255588"/>
                </a:xfrm>
                <a:custGeom>
                  <a:avLst/>
                  <a:gdLst>
                    <a:gd name="T0" fmla="*/ 279 w 279"/>
                    <a:gd name="T1" fmla="*/ 74 h 74"/>
                    <a:gd name="T2" fmla="*/ 228 w 279"/>
                    <a:gd name="T3" fmla="*/ 39 h 74"/>
                    <a:gd name="T4" fmla="*/ 200 w 279"/>
                    <a:gd name="T5" fmla="*/ 48 h 74"/>
                    <a:gd name="T6" fmla="*/ 131 w 279"/>
                    <a:gd name="T7" fmla="*/ 0 h 74"/>
                    <a:gd name="T8" fmla="*/ 64 w 279"/>
                    <a:gd name="T9" fmla="*/ 41 h 74"/>
                    <a:gd name="T10" fmla="*/ 50 w 279"/>
                    <a:gd name="T11" fmla="*/ 39 h 74"/>
                    <a:gd name="T12" fmla="*/ 0 w 279"/>
                    <a:gd name="T13" fmla="*/ 74 h 74"/>
                    <a:gd name="T14" fmla="*/ 279 w 279"/>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74">
                      <a:moveTo>
                        <a:pt x="279" y="74"/>
                      </a:moveTo>
                      <a:cubicBezTo>
                        <a:pt x="271" y="54"/>
                        <a:pt x="252" y="39"/>
                        <a:pt x="228" y="39"/>
                      </a:cubicBezTo>
                      <a:cubicBezTo>
                        <a:pt x="218" y="39"/>
                        <a:pt x="208" y="42"/>
                        <a:pt x="200" y="48"/>
                      </a:cubicBezTo>
                      <a:cubicBezTo>
                        <a:pt x="189" y="20"/>
                        <a:pt x="162" y="0"/>
                        <a:pt x="131" y="0"/>
                      </a:cubicBezTo>
                      <a:cubicBezTo>
                        <a:pt x="102" y="0"/>
                        <a:pt x="76" y="17"/>
                        <a:pt x="64" y="41"/>
                      </a:cubicBezTo>
                      <a:cubicBezTo>
                        <a:pt x="60" y="40"/>
                        <a:pt x="55" y="39"/>
                        <a:pt x="50" y="39"/>
                      </a:cubicBezTo>
                      <a:cubicBezTo>
                        <a:pt x="27" y="39"/>
                        <a:pt x="8" y="54"/>
                        <a:pt x="0" y="74"/>
                      </a:cubicBezTo>
                      <a:cubicBezTo>
                        <a:pt x="279" y="74"/>
                        <a:pt x="279" y="74"/>
                        <a:pt x="279" y="7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6" name="Picture 5">
              <a:extLst>
                <a:ext uri="{FF2B5EF4-FFF2-40B4-BE49-F238E27FC236}">
                  <a16:creationId xmlns:a16="http://schemas.microsoft.com/office/drawing/2014/main" id="{57E07F37-583C-4319-BBC2-C9692D895B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982" y="1658436"/>
              <a:ext cx="2618218" cy="1766456"/>
            </a:xfrm>
            <a:prstGeom prst="rect">
              <a:avLst/>
            </a:prstGeom>
          </p:spPr>
        </p:pic>
        <p:pic>
          <p:nvPicPr>
            <p:cNvPr id="8" name="Picture 7">
              <a:extLst>
                <a:ext uri="{FF2B5EF4-FFF2-40B4-BE49-F238E27FC236}">
                  <a16:creationId xmlns:a16="http://schemas.microsoft.com/office/drawing/2014/main" id="{239664EF-EE31-4B0F-89A3-0F9D55130F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93630" y="3081781"/>
              <a:ext cx="1469873" cy="1585556"/>
            </a:xfrm>
            <a:prstGeom prst="rect">
              <a:avLst/>
            </a:prstGeom>
          </p:spPr>
        </p:pic>
        <p:pic>
          <p:nvPicPr>
            <p:cNvPr id="10" name="Picture 9">
              <a:extLst>
                <a:ext uri="{FF2B5EF4-FFF2-40B4-BE49-F238E27FC236}">
                  <a16:creationId xmlns:a16="http://schemas.microsoft.com/office/drawing/2014/main" id="{2F24EDFD-4844-4331-B92A-B0D0EEB0F5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3813" y="3882991"/>
              <a:ext cx="1654683" cy="1618236"/>
            </a:xfrm>
            <a:prstGeom prst="rect">
              <a:avLst/>
            </a:prstGeom>
          </p:spPr>
        </p:pic>
      </p:grpSp>
    </p:spTree>
    <p:extLst>
      <p:ext uri="{BB962C8B-B14F-4D97-AF65-F5344CB8AC3E}">
        <p14:creationId xmlns:p14="http://schemas.microsoft.com/office/powerpoint/2010/main" val="41666141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69B44F8-00D5-410F-B296-0B9C48F237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469B44F8-00D5-410F-B296-0B9C48F237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0" name="Freeform: Shape 99">
            <a:extLst>
              <a:ext uri="{FF2B5EF4-FFF2-40B4-BE49-F238E27FC236}">
                <a16:creationId xmlns:a16="http://schemas.microsoft.com/office/drawing/2014/main" id="{31215480-8860-4C85-8AF2-C7F165EA9903}"/>
              </a:ext>
            </a:extLst>
          </p:cNvPr>
          <p:cNvSpPr/>
          <p:nvPr/>
        </p:nvSpPr>
        <p:spPr>
          <a:xfrm rot="1600909">
            <a:off x="9057875" y="-138340"/>
            <a:ext cx="4765805" cy="6414766"/>
          </a:xfrm>
          <a:custGeom>
            <a:avLst/>
            <a:gdLst>
              <a:gd name="connsiteX0" fmla="*/ 0 w 4765805"/>
              <a:gd name="connsiteY0" fmla="*/ 970110 h 6410853"/>
              <a:gd name="connsiteX1" fmla="*/ 1930376 w 4765805"/>
              <a:gd name="connsiteY1" fmla="*/ 0 h 6410853"/>
              <a:gd name="connsiteX2" fmla="*/ 1686319 w 4765805"/>
              <a:gd name="connsiteY2" fmla="*/ 122651 h 6410853"/>
              <a:gd name="connsiteX3" fmla="*/ 4765805 w 4765805"/>
              <a:gd name="connsiteY3" fmla="*/ 6250369 h 6410853"/>
              <a:gd name="connsiteX4" fmla="*/ 4446464 w 4765805"/>
              <a:gd name="connsiteY4" fmla="*/ 6410853 h 6410853"/>
              <a:gd name="connsiteX5" fmla="*/ 307075 w 4765805"/>
              <a:gd name="connsiteY5" fmla="*/ 6410853 h 6410853"/>
              <a:gd name="connsiteX6" fmla="*/ 0 w 4765805"/>
              <a:gd name="connsiteY6" fmla="*/ 6103778 h 641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5805" h="6410853">
                <a:moveTo>
                  <a:pt x="0" y="970110"/>
                </a:moveTo>
                <a:lnTo>
                  <a:pt x="1930376" y="0"/>
                </a:lnTo>
                <a:lnTo>
                  <a:pt x="1686319" y="122651"/>
                </a:lnTo>
                <a:lnTo>
                  <a:pt x="4765805" y="6250369"/>
                </a:lnTo>
                <a:lnTo>
                  <a:pt x="4446464" y="6410853"/>
                </a:lnTo>
                <a:lnTo>
                  <a:pt x="307075" y="6410853"/>
                </a:lnTo>
                <a:cubicBezTo>
                  <a:pt x="137482" y="6410853"/>
                  <a:pt x="0" y="6273371"/>
                  <a:pt x="0" y="6103778"/>
                </a:cubicBezTo>
                <a:close/>
              </a:path>
            </a:pathLst>
          </a:custGeom>
          <a:gradFill flip="none" rotWithShape="1">
            <a:gsLst>
              <a:gs pos="0">
                <a:srgbClr val="2F2F37">
                  <a:alpha val="90000"/>
                </a:srgbClr>
              </a:gs>
              <a:gs pos="94000">
                <a:srgbClr val="1E1E24">
                  <a:alpha val="8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6" name="Straight Connector 55">
            <a:extLst>
              <a:ext uri="{FF2B5EF4-FFF2-40B4-BE49-F238E27FC236}">
                <a16:creationId xmlns:a16="http://schemas.microsoft.com/office/drawing/2014/main" id="{E74FA987-59FB-4FD1-9932-985719294C69}"/>
              </a:ext>
            </a:extLst>
          </p:cNvPr>
          <p:cNvCxnSpPr>
            <a:cxnSpLocks/>
          </p:cNvCxnSpPr>
          <p:nvPr/>
        </p:nvCxnSpPr>
        <p:spPr>
          <a:xfrm>
            <a:off x="734626" y="4091609"/>
            <a:ext cx="7171539" cy="0"/>
          </a:xfrm>
          <a:prstGeom prst="line">
            <a:avLst/>
          </a:prstGeom>
          <a:ln>
            <a:solidFill>
              <a:srgbClr val="2F2F37"/>
            </a:solidFill>
          </a:ln>
        </p:spPr>
        <p:style>
          <a:lnRef idx="1">
            <a:schemeClr val="accent1"/>
          </a:lnRef>
          <a:fillRef idx="0">
            <a:schemeClr val="accent1"/>
          </a:fillRef>
          <a:effectRef idx="0">
            <a:schemeClr val="accent1"/>
          </a:effectRef>
          <a:fontRef idx="minor">
            <a:schemeClr val="tx1"/>
          </a:fontRef>
        </p:style>
      </p:cxnSp>
      <p:sp>
        <p:nvSpPr>
          <p:cNvPr id="53" name="Title 3">
            <a:extLst>
              <a:ext uri="{FF2B5EF4-FFF2-40B4-BE49-F238E27FC236}">
                <a16:creationId xmlns:a16="http://schemas.microsoft.com/office/drawing/2014/main" id="{7A7CC297-B50E-4B18-B4AF-D63A2A224E30}"/>
              </a:ext>
            </a:extLst>
          </p:cNvPr>
          <p:cNvSpPr txBox="1">
            <a:spLocks/>
          </p:cNvSpPr>
          <p:nvPr/>
        </p:nvSpPr>
        <p:spPr>
          <a:xfrm>
            <a:off x="635614" y="475145"/>
            <a:ext cx="6847669" cy="14538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4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j-ea"/>
                <a:cs typeface="Segoe UI" panose="020B0502040204020203" pitchFamily="34" charset="0"/>
              </a:rPr>
              <a:t>Solution: Lazarus</a:t>
            </a:r>
          </a:p>
          <a:p>
            <a:pPr marL="0" marR="0" lvl="0" indent="0" algn="l" defTabSz="914400" rtl="0" eaLnBrk="1" fontAlgn="auto" latinLnBrk="0" hangingPunct="1">
              <a:lnSpc>
                <a:spcPct val="90000"/>
              </a:lnSpc>
              <a:spcBef>
                <a:spcPct val="0"/>
              </a:spcBef>
              <a:spcAft>
                <a:spcPts val="0"/>
              </a:spcAft>
              <a:buClrTx/>
              <a:buSzTx/>
              <a:buFontTx/>
              <a:buNone/>
              <a:tabLst/>
              <a:defRPr/>
            </a:pPr>
            <a:r>
              <a:rPr lang="da-DK" sz="1600" dirty="0">
                <a:solidFill>
                  <a:prstClr val="black">
                    <a:lumMod val="75000"/>
                    <a:lumOff val="25000"/>
                  </a:prstClr>
                </a:solidFill>
                <a:latin typeface="Segoe UI" panose="020B0502040204020203" pitchFamily="34" charset="0"/>
                <a:cs typeface="Segoe UI" panose="020B0502040204020203" pitchFamily="34" charset="0"/>
              </a:rPr>
              <a:t>Not just a mobile application, it is an entire system that, as a pilot project, increases efficiency of pandemic control methods but can benefit general healthcare in the long run.</a:t>
            </a:r>
            <a:endParaRPr kumimoji="0" lang="en-US"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j-ea"/>
              <a:cs typeface="Segoe UI" panose="020B0502040204020203" pitchFamily="34" charset="0"/>
            </a:endParaRPr>
          </a:p>
        </p:txBody>
      </p:sp>
      <p:sp>
        <p:nvSpPr>
          <p:cNvPr id="54" name="Rectangle 53">
            <a:extLst>
              <a:ext uri="{FF2B5EF4-FFF2-40B4-BE49-F238E27FC236}">
                <a16:creationId xmlns:a16="http://schemas.microsoft.com/office/drawing/2014/main" id="{0EA40D4D-8FC4-4176-9016-40C896B0AB0B}"/>
              </a:ext>
            </a:extLst>
          </p:cNvPr>
          <p:cNvSpPr/>
          <p:nvPr/>
        </p:nvSpPr>
        <p:spPr>
          <a:xfrm>
            <a:off x="279059" y="4538758"/>
            <a:ext cx="2504730" cy="1292662"/>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Lazarus system </a:t>
            </a:r>
            <a:r>
              <a:rPr lang="en-US" sz="1400" dirty="0">
                <a:solidFill>
                  <a:prstClr val="black">
                    <a:lumMod val="75000"/>
                    <a:lumOff val="25000"/>
                  </a:prstClr>
                </a:solidFill>
                <a:latin typeface="Segoe UI" panose="020B0502040204020203" pitchFamily="34" charset="0"/>
                <a:cs typeface="Segoe UI" panose="020B0502040204020203" pitchFamily="34" charset="0"/>
              </a:rPr>
              <a:t>eliminates dependance of </a:t>
            </a: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roximity tracking solely on BLE technology. It rather trivializes a practice similar to recording attendance at schools/offices, such that one-smartphone-per-user is not necessary</a:t>
            </a:r>
            <a:r>
              <a:rPr lang="en-US" sz="1400" dirty="0">
                <a:solidFill>
                  <a:prstClr val="black">
                    <a:lumMod val="75000"/>
                    <a:lumOff val="25000"/>
                  </a:prstClr>
                </a:solidFill>
                <a:latin typeface="Segoe UI" panose="020B0502040204020203" pitchFamily="34" charset="0"/>
                <a:cs typeface="Segoe UI" panose="020B0502040204020203" pitchFamily="34" charset="0"/>
              </a:rPr>
              <a:t>, while the accuracy is as good as BLE based solutions.</a:t>
            </a:r>
            <a:endPar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grpSp>
        <p:nvGrpSpPr>
          <p:cNvPr id="70" name="Group 69">
            <a:extLst>
              <a:ext uri="{FF2B5EF4-FFF2-40B4-BE49-F238E27FC236}">
                <a16:creationId xmlns:a16="http://schemas.microsoft.com/office/drawing/2014/main" id="{DBDDC326-0832-4F83-91E6-5F96B02953F0}"/>
              </a:ext>
            </a:extLst>
          </p:cNvPr>
          <p:cNvGrpSpPr/>
          <p:nvPr/>
        </p:nvGrpSpPr>
        <p:grpSpPr>
          <a:xfrm>
            <a:off x="758687" y="3798030"/>
            <a:ext cx="633622" cy="624548"/>
            <a:chOff x="727006" y="3940974"/>
            <a:chExt cx="696984" cy="687003"/>
          </a:xfrm>
        </p:grpSpPr>
        <p:sp>
          <p:nvSpPr>
            <p:cNvPr id="65" name="Oval 64">
              <a:extLst>
                <a:ext uri="{FF2B5EF4-FFF2-40B4-BE49-F238E27FC236}">
                  <a16:creationId xmlns:a16="http://schemas.microsoft.com/office/drawing/2014/main" id="{FA5D6469-D60D-4B38-89F1-8AC8BFE48C44}"/>
                </a:ext>
              </a:extLst>
            </p:cNvPr>
            <p:cNvSpPr/>
            <p:nvPr/>
          </p:nvSpPr>
          <p:spPr>
            <a:xfrm>
              <a:off x="727006" y="3940974"/>
              <a:ext cx="687003" cy="687003"/>
            </a:xfrm>
            <a:prstGeom prst="ellipse">
              <a:avLst/>
            </a:prstGeom>
            <a:gradFill>
              <a:gsLst>
                <a:gs pos="0">
                  <a:srgbClr val="4757B8"/>
                </a:gs>
                <a:gs pos="94000">
                  <a:srgbClr val="7983D7">
                    <a:lumMod val="98000"/>
                  </a:srgbClr>
                </a:gs>
              </a:gsLst>
              <a:lin ang="8100000" scaled="1"/>
            </a:gra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Freeform: Shape 68">
              <a:extLst>
                <a:ext uri="{FF2B5EF4-FFF2-40B4-BE49-F238E27FC236}">
                  <a16:creationId xmlns:a16="http://schemas.microsoft.com/office/drawing/2014/main" id="{8A39906C-AB0C-48DE-B22E-D3B151894EB6}"/>
                </a:ext>
              </a:extLst>
            </p:cNvPr>
            <p:cNvSpPr/>
            <p:nvPr/>
          </p:nvSpPr>
          <p:spPr>
            <a:xfrm>
              <a:off x="883375" y="4039767"/>
              <a:ext cx="540615" cy="538583"/>
            </a:xfrm>
            <a:custGeom>
              <a:avLst/>
              <a:gdLst>
                <a:gd name="connsiteX0" fmla="*/ 484825 w 540615"/>
                <a:gd name="connsiteY0" fmla="*/ 0 h 538583"/>
                <a:gd name="connsiteX1" fmla="*/ 487027 w 540615"/>
                <a:gd name="connsiteY1" fmla="*/ 1817 h 538583"/>
                <a:gd name="connsiteX2" fmla="*/ 528971 w 540615"/>
                <a:gd name="connsiteY2" fmla="*/ 52654 h 538583"/>
                <a:gd name="connsiteX3" fmla="*/ 540615 w 540615"/>
                <a:gd name="connsiteY3" fmla="*/ 74106 h 538583"/>
                <a:gd name="connsiteX4" fmla="*/ 540615 w 540615"/>
                <a:gd name="connsiteY4" fmla="*/ 415313 h 538583"/>
                <a:gd name="connsiteX5" fmla="*/ 528971 w 540615"/>
                <a:gd name="connsiteY5" fmla="*/ 436765 h 538583"/>
                <a:gd name="connsiteX6" fmla="*/ 436189 w 540615"/>
                <a:gd name="connsiteY6" fmla="*/ 529547 h 538583"/>
                <a:gd name="connsiteX7" fmla="*/ 419540 w 540615"/>
                <a:gd name="connsiteY7" fmla="*/ 538583 h 538583"/>
                <a:gd name="connsiteX8" fmla="*/ 68728 w 540615"/>
                <a:gd name="connsiteY8" fmla="*/ 538583 h 538583"/>
                <a:gd name="connsiteX9" fmla="*/ 52079 w 540615"/>
                <a:gd name="connsiteY9" fmla="*/ 529547 h 538583"/>
                <a:gd name="connsiteX10" fmla="*/ 1241 w 540615"/>
                <a:gd name="connsiteY10" fmla="*/ 487602 h 538583"/>
                <a:gd name="connsiteX11" fmla="*/ 0 w 540615"/>
                <a:gd name="connsiteY11" fmla="*/ 486098 h 538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615" h="538583">
                  <a:moveTo>
                    <a:pt x="484825" y="0"/>
                  </a:moveTo>
                  <a:lnTo>
                    <a:pt x="487027" y="1817"/>
                  </a:lnTo>
                  <a:cubicBezTo>
                    <a:pt x="502567" y="17357"/>
                    <a:pt x="516625" y="34379"/>
                    <a:pt x="528971" y="52654"/>
                  </a:cubicBezTo>
                  <a:lnTo>
                    <a:pt x="540615" y="74106"/>
                  </a:lnTo>
                  <a:lnTo>
                    <a:pt x="540615" y="415313"/>
                  </a:lnTo>
                  <a:lnTo>
                    <a:pt x="528971" y="436765"/>
                  </a:lnTo>
                  <a:cubicBezTo>
                    <a:pt x="504279" y="473313"/>
                    <a:pt x="472738" y="504855"/>
                    <a:pt x="436189" y="529547"/>
                  </a:cubicBezTo>
                  <a:lnTo>
                    <a:pt x="419540" y="538583"/>
                  </a:lnTo>
                  <a:lnTo>
                    <a:pt x="68728" y="538583"/>
                  </a:lnTo>
                  <a:lnTo>
                    <a:pt x="52079" y="529547"/>
                  </a:lnTo>
                  <a:cubicBezTo>
                    <a:pt x="33804" y="517201"/>
                    <a:pt x="16782" y="503142"/>
                    <a:pt x="1241" y="487602"/>
                  </a:cubicBezTo>
                  <a:lnTo>
                    <a:pt x="0" y="486098"/>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1" name="Group 70">
            <a:extLst>
              <a:ext uri="{FF2B5EF4-FFF2-40B4-BE49-F238E27FC236}">
                <a16:creationId xmlns:a16="http://schemas.microsoft.com/office/drawing/2014/main" id="{41F92036-1277-4F29-8F68-E6687F08A17D}"/>
              </a:ext>
            </a:extLst>
          </p:cNvPr>
          <p:cNvGrpSpPr/>
          <p:nvPr/>
        </p:nvGrpSpPr>
        <p:grpSpPr>
          <a:xfrm>
            <a:off x="2354174" y="3798030"/>
            <a:ext cx="633622" cy="624548"/>
            <a:chOff x="727006" y="3940974"/>
            <a:chExt cx="696984" cy="687003"/>
          </a:xfrm>
        </p:grpSpPr>
        <p:sp>
          <p:nvSpPr>
            <p:cNvPr id="72" name="Oval 71">
              <a:extLst>
                <a:ext uri="{FF2B5EF4-FFF2-40B4-BE49-F238E27FC236}">
                  <a16:creationId xmlns:a16="http://schemas.microsoft.com/office/drawing/2014/main" id="{B41F28C7-00AC-4E90-B1CB-EEEFEBE98677}"/>
                </a:ext>
              </a:extLst>
            </p:cNvPr>
            <p:cNvSpPr/>
            <p:nvPr/>
          </p:nvSpPr>
          <p:spPr>
            <a:xfrm>
              <a:off x="727006" y="3940974"/>
              <a:ext cx="687003" cy="687003"/>
            </a:xfrm>
            <a:prstGeom prst="ellipse">
              <a:avLst/>
            </a:prstGeom>
            <a:gradFill>
              <a:gsLst>
                <a:gs pos="0">
                  <a:srgbClr val="4757B8"/>
                </a:gs>
                <a:gs pos="94000">
                  <a:srgbClr val="7983D7">
                    <a:lumMod val="98000"/>
                  </a:srgbClr>
                </a:gs>
              </a:gsLst>
              <a:lin ang="8100000" scaled="1"/>
            </a:gra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Freeform: Shape 72">
              <a:extLst>
                <a:ext uri="{FF2B5EF4-FFF2-40B4-BE49-F238E27FC236}">
                  <a16:creationId xmlns:a16="http://schemas.microsoft.com/office/drawing/2014/main" id="{06D2FA35-B524-4864-B1CC-AECCFD1C72CA}"/>
                </a:ext>
              </a:extLst>
            </p:cNvPr>
            <p:cNvSpPr/>
            <p:nvPr/>
          </p:nvSpPr>
          <p:spPr>
            <a:xfrm>
              <a:off x="883375" y="4039767"/>
              <a:ext cx="540615" cy="538583"/>
            </a:xfrm>
            <a:custGeom>
              <a:avLst/>
              <a:gdLst>
                <a:gd name="connsiteX0" fmla="*/ 484825 w 540615"/>
                <a:gd name="connsiteY0" fmla="*/ 0 h 538583"/>
                <a:gd name="connsiteX1" fmla="*/ 487027 w 540615"/>
                <a:gd name="connsiteY1" fmla="*/ 1817 h 538583"/>
                <a:gd name="connsiteX2" fmla="*/ 528971 w 540615"/>
                <a:gd name="connsiteY2" fmla="*/ 52654 h 538583"/>
                <a:gd name="connsiteX3" fmla="*/ 540615 w 540615"/>
                <a:gd name="connsiteY3" fmla="*/ 74106 h 538583"/>
                <a:gd name="connsiteX4" fmla="*/ 540615 w 540615"/>
                <a:gd name="connsiteY4" fmla="*/ 415313 h 538583"/>
                <a:gd name="connsiteX5" fmla="*/ 528971 w 540615"/>
                <a:gd name="connsiteY5" fmla="*/ 436765 h 538583"/>
                <a:gd name="connsiteX6" fmla="*/ 436189 w 540615"/>
                <a:gd name="connsiteY6" fmla="*/ 529547 h 538583"/>
                <a:gd name="connsiteX7" fmla="*/ 419540 w 540615"/>
                <a:gd name="connsiteY7" fmla="*/ 538583 h 538583"/>
                <a:gd name="connsiteX8" fmla="*/ 68728 w 540615"/>
                <a:gd name="connsiteY8" fmla="*/ 538583 h 538583"/>
                <a:gd name="connsiteX9" fmla="*/ 52079 w 540615"/>
                <a:gd name="connsiteY9" fmla="*/ 529547 h 538583"/>
                <a:gd name="connsiteX10" fmla="*/ 1241 w 540615"/>
                <a:gd name="connsiteY10" fmla="*/ 487602 h 538583"/>
                <a:gd name="connsiteX11" fmla="*/ 0 w 540615"/>
                <a:gd name="connsiteY11" fmla="*/ 486098 h 538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615" h="538583">
                  <a:moveTo>
                    <a:pt x="484825" y="0"/>
                  </a:moveTo>
                  <a:lnTo>
                    <a:pt x="487027" y="1817"/>
                  </a:lnTo>
                  <a:cubicBezTo>
                    <a:pt x="502567" y="17357"/>
                    <a:pt x="516625" y="34379"/>
                    <a:pt x="528971" y="52654"/>
                  </a:cubicBezTo>
                  <a:lnTo>
                    <a:pt x="540615" y="74106"/>
                  </a:lnTo>
                  <a:lnTo>
                    <a:pt x="540615" y="415313"/>
                  </a:lnTo>
                  <a:lnTo>
                    <a:pt x="528971" y="436765"/>
                  </a:lnTo>
                  <a:cubicBezTo>
                    <a:pt x="504279" y="473313"/>
                    <a:pt x="472738" y="504855"/>
                    <a:pt x="436189" y="529547"/>
                  </a:cubicBezTo>
                  <a:lnTo>
                    <a:pt x="419540" y="538583"/>
                  </a:lnTo>
                  <a:lnTo>
                    <a:pt x="68728" y="538583"/>
                  </a:lnTo>
                  <a:lnTo>
                    <a:pt x="52079" y="529547"/>
                  </a:lnTo>
                  <a:cubicBezTo>
                    <a:pt x="33804" y="517201"/>
                    <a:pt x="16782" y="503142"/>
                    <a:pt x="1241" y="487602"/>
                  </a:cubicBezTo>
                  <a:lnTo>
                    <a:pt x="0" y="486098"/>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id="{ADA4308A-592E-4B90-BF50-3DC9668B3C6E}"/>
              </a:ext>
            </a:extLst>
          </p:cNvPr>
          <p:cNvGrpSpPr/>
          <p:nvPr/>
        </p:nvGrpSpPr>
        <p:grpSpPr>
          <a:xfrm>
            <a:off x="4017874" y="3798030"/>
            <a:ext cx="633622" cy="624548"/>
            <a:chOff x="727006" y="3940974"/>
            <a:chExt cx="696984" cy="687003"/>
          </a:xfrm>
        </p:grpSpPr>
        <p:sp>
          <p:nvSpPr>
            <p:cNvPr id="75" name="Oval 74">
              <a:extLst>
                <a:ext uri="{FF2B5EF4-FFF2-40B4-BE49-F238E27FC236}">
                  <a16:creationId xmlns:a16="http://schemas.microsoft.com/office/drawing/2014/main" id="{65815A8E-B403-45A9-9282-A81351CD169C}"/>
                </a:ext>
              </a:extLst>
            </p:cNvPr>
            <p:cNvSpPr/>
            <p:nvPr/>
          </p:nvSpPr>
          <p:spPr>
            <a:xfrm>
              <a:off x="727006" y="3940974"/>
              <a:ext cx="687003" cy="687003"/>
            </a:xfrm>
            <a:prstGeom prst="ellipse">
              <a:avLst/>
            </a:prstGeom>
            <a:gradFill>
              <a:gsLst>
                <a:gs pos="0">
                  <a:srgbClr val="4757B8"/>
                </a:gs>
                <a:gs pos="94000">
                  <a:srgbClr val="7983D7">
                    <a:lumMod val="98000"/>
                  </a:srgbClr>
                </a:gs>
              </a:gsLst>
              <a:lin ang="8100000" scaled="1"/>
            </a:gra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Freeform: Shape 75">
              <a:extLst>
                <a:ext uri="{FF2B5EF4-FFF2-40B4-BE49-F238E27FC236}">
                  <a16:creationId xmlns:a16="http://schemas.microsoft.com/office/drawing/2014/main" id="{53108F9C-AFD9-45CB-A1B1-3D97601CFC77}"/>
                </a:ext>
              </a:extLst>
            </p:cNvPr>
            <p:cNvSpPr/>
            <p:nvPr/>
          </p:nvSpPr>
          <p:spPr>
            <a:xfrm>
              <a:off x="883375" y="4039767"/>
              <a:ext cx="540615" cy="538583"/>
            </a:xfrm>
            <a:custGeom>
              <a:avLst/>
              <a:gdLst>
                <a:gd name="connsiteX0" fmla="*/ 484825 w 540615"/>
                <a:gd name="connsiteY0" fmla="*/ 0 h 538583"/>
                <a:gd name="connsiteX1" fmla="*/ 487027 w 540615"/>
                <a:gd name="connsiteY1" fmla="*/ 1817 h 538583"/>
                <a:gd name="connsiteX2" fmla="*/ 528971 w 540615"/>
                <a:gd name="connsiteY2" fmla="*/ 52654 h 538583"/>
                <a:gd name="connsiteX3" fmla="*/ 540615 w 540615"/>
                <a:gd name="connsiteY3" fmla="*/ 74106 h 538583"/>
                <a:gd name="connsiteX4" fmla="*/ 540615 w 540615"/>
                <a:gd name="connsiteY4" fmla="*/ 415313 h 538583"/>
                <a:gd name="connsiteX5" fmla="*/ 528971 w 540615"/>
                <a:gd name="connsiteY5" fmla="*/ 436765 h 538583"/>
                <a:gd name="connsiteX6" fmla="*/ 436189 w 540615"/>
                <a:gd name="connsiteY6" fmla="*/ 529547 h 538583"/>
                <a:gd name="connsiteX7" fmla="*/ 419540 w 540615"/>
                <a:gd name="connsiteY7" fmla="*/ 538583 h 538583"/>
                <a:gd name="connsiteX8" fmla="*/ 68728 w 540615"/>
                <a:gd name="connsiteY8" fmla="*/ 538583 h 538583"/>
                <a:gd name="connsiteX9" fmla="*/ 52079 w 540615"/>
                <a:gd name="connsiteY9" fmla="*/ 529547 h 538583"/>
                <a:gd name="connsiteX10" fmla="*/ 1241 w 540615"/>
                <a:gd name="connsiteY10" fmla="*/ 487602 h 538583"/>
                <a:gd name="connsiteX11" fmla="*/ 0 w 540615"/>
                <a:gd name="connsiteY11" fmla="*/ 486098 h 538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615" h="538583">
                  <a:moveTo>
                    <a:pt x="484825" y="0"/>
                  </a:moveTo>
                  <a:lnTo>
                    <a:pt x="487027" y="1817"/>
                  </a:lnTo>
                  <a:cubicBezTo>
                    <a:pt x="502567" y="17357"/>
                    <a:pt x="516625" y="34379"/>
                    <a:pt x="528971" y="52654"/>
                  </a:cubicBezTo>
                  <a:lnTo>
                    <a:pt x="540615" y="74106"/>
                  </a:lnTo>
                  <a:lnTo>
                    <a:pt x="540615" y="415313"/>
                  </a:lnTo>
                  <a:lnTo>
                    <a:pt x="528971" y="436765"/>
                  </a:lnTo>
                  <a:cubicBezTo>
                    <a:pt x="504279" y="473313"/>
                    <a:pt x="472738" y="504855"/>
                    <a:pt x="436189" y="529547"/>
                  </a:cubicBezTo>
                  <a:lnTo>
                    <a:pt x="419540" y="538583"/>
                  </a:lnTo>
                  <a:lnTo>
                    <a:pt x="68728" y="538583"/>
                  </a:lnTo>
                  <a:lnTo>
                    <a:pt x="52079" y="529547"/>
                  </a:lnTo>
                  <a:cubicBezTo>
                    <a:pt x="33804" y="517201"/>
                    <a:pt x="16782" y="503142"/>
                    <a:pt x="1241" y="487602"/>
                  </a:cubicBezTo>
                  <a:lnTo>
                    <a:pt x="0" y="486098"/>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7" name="Group 76">
            <a:extLst>
              <a:ext uri="{FF2B5EF4-FFF2-40B4-BE49-F238E27FC236}">
                <a16:creationId xmlns:a16="http://schemas.microsoft.com/office/drawing/2014/main" id="{47220ED9-FFF4-48B4-824D-87C1D6F0BEDA}"/>
              </a:ext>
            </a:extLst>
          </p:cNvPr>
          <p:cNvGrpSpPr/>
          <p:nvPr/>
        </p:nvGrpSpPr>
        <p:grpSpPr>
          <a:xfrm>
            <a:off x="5649824" y="3798030"/>
            <a:ext cx="633622" cy="624548"/>
            <a:chOff x="727006" y="3940974"/>
            <a:chExt cx="696984" cy="687003"/>
          </a:xfrm>
        </p:grpSpPr>
        <p:sp>
          <p:nvSpPr>
            <p:cNvPr id="78" name="Oval 77">
              <a:extLst>
                <a:ext uri="{FF2B5EF4-FFF2-40B4-BE49-F238E27FC236}">
                  <a16:creationId xmlns:a16="http://schemas.microsoft.com/office/drawing/2014/main" id="{E8930744-61C7-481A-9852-F7FCE714B623}"/>
                </a:ext>
              </a:extLst>
            </p:cNvPr>
            <p:cNvSpPr/>
            <p:nvPr/>
          </p:nvSpPr>
          <p:spPr>
            <a:xfrm>
              <a:off x="727006" y="3940974"/>
              <a:ext cx="687003" cy="687003"/>
            </a:xfrm>
            <a:prstGeom prst="ellipse">
              <a:avLst/>
            </a:prstGeom>
            <a:gradFill>
              <a:gsLst>
                <a:gs pos="0">
                  <a:srgbClr val="4757B8"/>
                </a:gs>
                <a:gs pos="94000">
                  <a:srgbClr val="7983D7">
                    <a:lumMod val="98000"/>
                  </a:srgbClr>
                </a:gs>
              </a:gsLst>
              <a:lin ang="8100000" scaled="1"/>
            </a:grad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Freeform: Shape 78">
              <a:extLst>
                <a:ext uri="{FF2B5EF4-FFF2-40B4-BE49-F238E27FC236}">
                  <a16:creationId xmlns:a16="http://schemas.microsoft.com/office/drawing/2014/main" id="{8B0813B8-70CF-4C4B-90BC-7290D935F383}"/>
                </a:ext>
              </a:extLst>
            </p:cNvPr>
            <p:cNvSpPr/>
            <p:nvPr/>
          </p:nvSpPr>
          <p:spPr>
            <a:xfrm>
              <a:off x="883375" y="4039767"/>
              <a:ext cx="540615" cy="538583"/>
            </a:xfrm>
            <a:custGeom>
              <a:avLst/>
              <a:gdLst>
                <a:gd name="connsiteX0" fmla="*/ 484825 w 540615"/>
                <a:gd name="connsiteY0" fmla="*/ 0 h 538583"/>
                <a:gd name="connsiteX1" fmla="*/ 487027 w 540615"/>
                <a:gd name="connsiteY1" fmla="*/ 1817 h 538583"/>
                <a:gd name="connsiteX2" fmla="*/ 528971 w 540615"/>
                <a:gd name="connsiteY2" fmla="*/ 52654 h 538583"/>
                <a:gd name="connsiteX3" fmla="*/ 540615 w 540615"/>
                <a:gd name="connsiteY3" fmla="*/ 74106 h 538583"/>
                <a:gd name="connsiteX4" fmla="*/ 540615 w 540615"/>
                <a:gd name="connsiteY4" fmla="*/ 415313 h 538583"/>
                <a:gd name="connsiteX5" fmla="*/ 528971 w 540615"/>
                <a:gd name="connsiteY5" fmla="*/ 436765 h 538583"/>
                <a:gd name="connsiteX6" fmla="*/ 436189 w 540615"/>
                <a:gd name="connsiteY6" fmla="*/ 529547 h 538583"/>
                <a:gd name="connsiteX7" fmla="*/ 419540 w 540615"/>
                <a:gd name="connsiteY7" fmla="*/ 538583 h 538583"/>
                <a:gd name="connsiteX8" fmla="*/ 68728 w 540615"/>
                <a:gd name="connsiteY8" fmla="*/ 538583 h 538583"/>
                <a:gd name="connsiteX9" fmla="*/ 52079 w 540615"/>
                <a:gd name="connsiteY9" fmla="*/ 529547 h 538583"/>
                <a:gd name="connsiteX10" fmla="*/ 1241 w 540615"/>
                <a:gd name="connsiteY10" fmla="*/ 487602 h 538583"/>
                <a:gd name="connsiteX11" fmla="*/ 0 w 540615"/>
                <a:gd name="connsiteY11" fmla="*/ 486098 h 538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0615" h="538583">
                  <a:moveTo>
                    <a:pt x="484825" y="0"/>
                  </a:moveTo>
                  <a:lnTo>
                    <a:pt x="487027" y="1817"/>
                  </a:lnTo>
                  <a:cubicBezTo>
                    <a:pt x="502567" y="17357"/>
                    <a:pt x="516625" y="34379"/>
                    <a:pt x="528971" y="52654"/>
                  </a:cubicBezTo>
                  <a:lnTo>
                    <a:pt x="540615" y="74106"/>
                  </a:lnTo>
                  <a:lnTo>
                    <a:pt x="540615" y="415313"/>
                  </a:lnTo>
                  <a:lnTo>
                    <a:pt x="528971" y="436765"/>
                  </a:lnTo>
                  <a:cubicBezTo>
                    <a:pt x="504279" y="473313"/>
                    <a:pt x="472738" y="504855"/>
                    <a:pt x="436189" y="529547"/>
                  </a:cubicBezTo>
                  <a:lnTo>
                    <a:pt x="419540" y="538583"/>
                  </a:lnTo>
                  <a:lnTo>
                    <a:pt x="68728" y="538583"/>
                  </a:lnTo>
                  <a:lnTo>
                    <a:pt x="52079" y="529547"/>
                  </a:lnTo>
                  <a:cubicBezTo>
                    <a:pt x="33804" y="517201"/>
                    <a:pt x="16782" y="503142"/>
                    <a:pt x="1241" y="487602"/>
                  </a:cubicBezTo>
                  <a:lnTo>
                    <a:pt x="0" y="486098"/>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0" name="Rectangle 79">
            <a:extLst>
              <a:ext uri="{FF2B5EF4-FFF2-40B4-BE49-F238E27FC236}">
                <a16:creationId xmlns:a16="http://schemas.microsoft.com/office/drawing/2014/main" id="{67843A35-E4B6-4D9B-8B84-6C5B0E8CAFE8}"/>
              </a:ext>
            </a:extLst>
          </p:cNvPr>
          <p:cNvSpPr/>
          <p:nvPr/>
        </p:nvSpPr>
        <p:spPr>
          <a:xfrm>
            <a:off x="3026631" y="4520394"/>
            <a:ext cx="2813256" cy="1292663"/>
          </a:xfrm>
          <a:prstGeom prst="rect">
            <a:avLst/>
          </a:prstGeom>
        </p:spPr>
        <p:txBody>
          <a:bodyPr wrap="square" lIns="0" tIns="0" rIns="0" bIns="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1400" dirty="0">
                <a:solidFill>
                  <a:prstClr val="black">
                    <a:lumMod val="75000"/>
                    <a:lumOff val="25000"/>
                  </a:prstClr>
                </a:solidFill>
                <a:latin typeface="Segoe UI" panose="020B0502040204020203" pitchFamily="34" charset="0"/>
                <a:cs typeface="Segoe UI" panose="020B0502040204020203" pitchFamily="34" charset="0"/>
              </a:rPr>
              <a:t>The app also allows users to maintain a diary. When infected, instead of trying to recall the contacts made in the past few days, users can deliver the same data through this diary. The app filters only enough information to track the contacts, no details of personal life are revealed, and users get one extra utility out of the app.</a:t>
            </a:r>
            <a:endPar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
        <p:nvSpPr>
          <p:cNvPr id="81" name="Rectangle 80">
            <a:extLst>
              <a:ext uri="{FF2B5EF4-FFF2-40B4-BE49-F238E27FC236}">
                <a16:creationId xmlns:a16="http://schemas.microsoft.com/office/drawing/2014/main" id="{FBC8C79A-262A-4117-A1D6-0B7D655FBE45}"/>
              </a:ext>
            </a:extLst>
          </p:cNvPr>
          <p:cNvSpPr/>
          <p:nvPr/>
        </p:nvSpPr>
        <p:spPr>
          <a:xfrm>
            <a:off x="1500326" y="2376192"/>
            <a:ext cx="2450237" cy="1384449"/>
          </a:xfrm>
          <a:prstGeom prst="rect">
            <a:avLst/>
          </a:prstGeom>
        </p:spPr>
        <p:txBody>
          <a:bodyPr wrap="square" lIns="0" tIns="0" rIns="0" bIns="0" anchor="b"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Since each user does not need a smartphone for contact tracing, the app has multi-user support. Thus, even with one smartphone per family, all the family members can be part of the Lazarus system.</a:t>
            </a:r>
          </a:p>
        </p:txBody>
      </p:sp>
      <p:sp>
        <p:nvSpPr>
          <p:cNvPr id="82" name="Rectangle 81">
            <a:extLst>
              <a:ext uri="{FF2B5EF4-FFF2-40B4-BE49-F238E27FC236}">
                <a16:creationId xmlns:a16="http://schemas.microsoft.com/office/drawing/2014/main" id="{5A15F938-4129-4889-B904-D2F025CFD15D}"/>
              </a:ext>
            </a:extLst>
          </p:cNvPr>
          <p:cNvSpPr/>
          <p:nvPr/>
        </p:nvSpPr>
        <p:spPr>
          <a:xfrm>
            <a:off x="4642422" y="2376192"/>
            <a:ext cx="2968053" cy="1418246"/>
          </a:xfrm>
          <a:prstGeom prst="rect">
            <a:avLst/>
          </a:prstGeom>
        </p:spPr>
        <p:txBody>
          <a:bodyPr wrap="square" lIns="0" tIns="0" rIns="0" bIns="0" anchor="b" anchorCtr="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e user remains in control of all data. Minimal server support is required. As the system ensures growth in user base irrespective of geographies or financial status, the volume of data generated is unparalleled and invaluable for healthcare</a:t>
            </a:r>
          </a:p>
        </p:txBody>
      </p:sp>
      <p:grpSp>
        <p:nvGrpSpPr>
          <p:cNvPr id="101" name="Group 100">
            <a:extLst>
              <a:ext uri="{FF2B5EF4-FFF2-40B4-BE49-F238E27FC236}">
                <a16:creationId xmlns:a16="http://schemas.microsoft.com/office/drawing/2014/main" id="{0F60E482-57DC-4935-A68D-996D94C96472}"/>
              </a:ext>
            </a:extLst>
          </p:cNvPr>
          <p:cNvGrpSpPr/>
          <p:nvPr/>
        </p:nvGrpSpPr>
        <p:grpSpPr>
          <a:xfrm>
            <a:off x="7483283" y="848458"/>
            <a:ext cx="3926164" cy="5619392"/>
            <a:chOff x="2935163" y="3738956"/>
            <a:chExt cx="3926164" cy="5619392"/>
          </a:xfrm>
        </p:grpSpPr>
        <p:pic>
          <p:nvPicPr>
            <p:cNvPr id="102" name="Picture 101">
              <a:extLst>
                <a:ext uri="{FF2B5EF4-FFF2-40B4-BE49-F238E27FC236}">
                  <a16:creationId xmlns:a16="http://schemas.microsoft.com/office/drawing/2014/main" id="{95E7B785-315E-4AAB-BBCF-44D3C4955DA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637823" y="3876816"/>
              <a:ext cx="2561481" cy="5155476"/>
            </a:xfrm>
            <a:prstGeom prst="roundRect">
              <a:avLst>
                <a:gd name="adj" fmla="val 8562"/>
              </a:avLst>
            </a:prstGeom>
            <a:ln>
              <a:noFill/>
            </a:ln>
          </p:spPr>
        </p:pic>
        <p:pic>
          <p:nvPicPr>
            <p:cNvPr id="103" name="Picture 102">
              <a:extLst>
                <a:ext uri="{FF2B5EF4-FFF2-40B4-BE49-F238E27FC236}">
                  <a16:creationId xmlns:a16="http://schemas.microsoft.com/office/drawing/2014/main" id="{45F177B5-AFC5-44AD-A090-A7A8D09400E7}"/>
                </a:ext>
              </a:extLst>
            </p:cNvPr>
            <p:cNvPicPr>
              <a:picLocks noChangeAspect="1"/>
            </p:cNvPicPr>
            <p:nvPr/>
          </p:nvPicPr>
          <p:blipFill>
            <a:blip r:embed="rId7"/>
            <a:stretch>
              <a:fillRect/>
            </a:stretch>
          </p:blipFill>
          <p:spPr>
            <a:xfrm>
              <a:off x="2935163" y="3738956"/>
              <a:ext cx="3926164" cy="5619392"/>
            </a:xfrm>
            <a:prstGeom prst="rect">
              <a:avLst/>
            </a:prstGeom>
            <a:blipFill>
              <a:blip r:embed="rId8"/>
              <a:stretch>
                <a:fillRect/>
              </a:stretch>
            </a:blipFill>
          </p:spPr>
        </p:pic>
      </p:grpSp>
      <p:sp>
        <p:nvSpPr>
          <p:cNvPr id="2" name="TextBox 1">
            <a:extLst>
              <a:ext uri="{FF2B5EF4-FFF2-40B4-BE49-F238E27FC236}">
                <a16:creationId xmlns:a16="http://schemas.microsoft.com/office/drawing/2014/main" id="{BF6DEF8C-B484-4DCE-876C-A2A4B887A1A2}"/>
              </a:ext>
            </a:extLst>
          </p:cNvPr>
          <p:cNvSpPr txBox="1"/>
          <p:nvPr/>
        </p:nvSpPr>
        <p:spPr>
          <a:xfrm>
            <a:off x="886683" y="3931577"/>
            <a:ext cx="355107" cy="372332"/>
          </a:xfrm>
          <a:prstGeom prst="rect">
            <a:avLst/>
          </a:prstGeom>
          <a:noFill/>
        </p:spPr>
        <p:txBody>
          <a:bodyPr wrap="square" rtlCol="0">
            <a:spAutoFit/>
          </a:bodyPr>
          <a:lstStyle/>
          <a:p>
            <a:pPr algn="ctr"/>
            <a:r>
              <a:rPr lang="en-US" dirty="0">
                <a:solidFill>
                  <a:schemeClr val="bg1"/>
                </a:solidFill>
              </a:rPr>
              <a:t>1</a:t>
            </a:r>
            <a:endParaRPr lang="en-IN" dirty="0">
              <a:solidFill>
                <a:schemeClr val="bg1"/>
              </a:solidFill>
            </a:endParaRPr>
          </a:p>
        </p:txBody>
      </p:sp>
      <p:sp>
        <p:nvSpPr>
          <p:cNvPr id="42" name="TextBox 41">
            <a:extLst>
              <a:ext uri="{FF2B5EF4-FFF2-40B4-BE49-F238E27FC236}">
                <a16:creationId xmlns:a16="http://schemas.microsoft.com/office/drawing/2014/main" id="{90E727EC-F1B7-4A71-8E25-AB061E224197}"/>
              </a:ext>
            </a:extLst>
          </p:cNvPr>
          <p:cNvSpPr txBox="1"/>
          <p:nvPr/>
        </p:nvSpPr>
        <p:spPr>
          <a:xfrm>
            <a:off x="2496328" y="3931577"/>
            <a:ext cx="355107" cy="372332"/>
          </a:xfrm>
          <a:prstGeom prst="rect">
            <a:avLst/>
          </a:prstGeom>
          <a:noFill/>
        </p:spPr>
        <p:txBody>
          <a:bodyPr wrap="square" rtlCol="0">
            <a:spAutoFit/>
          </a:bodyPr>
          <a:lstStyle/>
          <a:p>
            <a:pPr algn="ctr"/>
            <a:r>
              <a:rPr lang="en-US" dirty="0">
                <a:solidFill>
                  <a:schemeClr val="bg1"/>
                </a:solidFill>
              </a:rPr>
              <a:t>2</a:t>
            </a:r>
            <a:endParaRPr lang="en-IN" dirty="0">
              <a:solidFill>
                <a:schemeClr val="bg1"/>
              </a:solidFill>
            </a:endParaRPr>
          </a:p>
        </p:txBody>
      </p:sp>
      <p:sp>
        <p:nvSpPr>
          <p:cNvPr id="43" name="TextBox 42">
            <a:extLst>
              <a:ext uri="{FF2B5EF4-FFF2-40B4-BE49-F238E27FC236}">
                <a16:creationId xmlns:a16="http://schemas.microsoft.com/office/drawing/2014/main" id="{7E1A5127-84BA-4F5C-AD66-6C72075F3394}"/>
              </a:ext>
            </a:extLst>
          </p:cNvPr>
          <p:cNvSpPr txBox="1"/>
          <p:nvPr/>
        </p:nvSpPr>
        <p:spPr>
          <a:xfrm>
            <a:off x="4145870" y="3942313"/>
            <a:ext cx="355107" cy="372332"/>
          </a:xfrm>
          <a:prstGeom prst="rect">
            <a:avLst/>
          </a:prstGeom>
          <a:noFill/>
        </p:spPr>
        <p:txBody>
          <a:bodyPr wrap="square" rtlCol="0">
            <a:spAutoFit/>
          </a:bodyPr>
          <a:lstStyle/>
          <a:p>
            <a:pPr algn="ctr"/>
            <a:r>
              <a:rPr lang="en-US" dirty="0">
                <a:solidFill>
                  <a:schemeClr val="bg1"/>
                </a:solidFill>
              </a:rPr>
              <a:t>3</a:t>
            </a:r>
            <a:endParaRPr lang="en-IN" dirty="0">
              <a:solidFill>
                <a:schemeClr val="bg1"/>
              </a:solidFill>
            </a:endParaRPr>
          </a:p>
        </p:txBody>
      </p:sp>
      <p:sp>
        <p:nvSpPr>
          <p:cNvPr id="44" name="TextBox 43">
            <a:extLst>
              <a:ext uri="{FF2B5EF4-FFF2-40B4-BE49-F238E27FC236}">
                <a16:creationId xmlns:a16="http://schemas.microsoft.com/office/drawing/2014/main" id="{9A948E92-B47F-40FE-B4B7-A00AD1D0FB20}"/>
              </a:ext>
            </a:extLst>
          </p:cNvPr>
          <p:cNvSpPr txBox="1"/>
          <p:nvPr/>
        </p:nvSpPr>
        <p:spPr>
          <a:xfrm>
            <a:off x="5791978" y="3933120"/>
            <a:ext cx="355107" cy="372332"/>
          </a:xfrm>
          <a:prstGeom prst="rect">
            <a:avLst/>
          </a:prstGeom>
          <a:noFill/>
        </p:spPr>
        <p:txBody>
          <a:bodyPr wrap="square" rtlCol="0">
            <a:spAutoFit/>
          </a:bodyPr>
          <a:lstStyle/>
          <a:p>
            <a:pPr algn="ctr"/>
            <a:r>
              <a:rPr lang="en-US" dirty="0">
                <a:solidFill>
                  <a:schemeClr val="bg1"/>
                </a:solidFill>
              </a:rPr>
              <a:t>4</a:t>
            </a:r>
            <a:endParaRPr lang="en-IN" dirty="0">
              <a:solidFill>
                <a:schemeClr val="bg1"/>
              </a:solidFill>
            </a:endParaRPr>
          </a:p>
        </p:txBody>
      </p:sp>
    </p:spTree>
    <p:extLst>
      <p:ext uri="{BB962C8B-B14F-4D97-AF65-F5344CB8AC3E}">
        <p14:creationId xmlns:p14="http://schemas.microsoft.com/office/powerpoint/2010/main" val="4202762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F835E444-F82B-4DE3-B53E-5D51EFC0CF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8" name="Object 57" hidden="1">
                        <a:extLst>
                          <a:ext uri="{FF2B5EF4-FFF2-40B4-BE49-F238E27FC236}">
                            <a16:creationId xmlns:a16="http://schemas.microsoft.com/office/drawing/2014/main" id="{F835E444-F82B-4DE3-B53E-5D51EFC0CF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A0A02496-88EA-4B41-9E5D-338FC62291EF}"/>
              </a:ext>
            </a:extLst>
          </p:cNvPr>
          <p:cNvSpPr/>
          <p:nvPr/>
        </p:nvSpPr>
        <p:spPr>
          <a:xfrm>
            <a:off x="1" y="1"/>
            <a:ext cx="12192000" cy="147420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Title 3">
            <a:extLst>
              <a:ext uri="{FF2B5EF4-FFF2-40B4-BE49-F238E27FC236}">
                <a16:creationId xmlns:a16="http://schemas.microsoft.com/office/drawing/2014/main" id="{EB2D913B-6EEF-4B66-9A3E-17021769FBAE}"/>
              </a:ext>
            </a:extLst>
          </p:cNvPr>
          <p:cNvSpPr txBox="1">
            <a:spLocks/>
          </p:cNvSpPr>
          <p:nvPr/>
        </p:nvSpPr>
        <p:spPr>
          <a:xfrm>
            <a:off x="5686467" y="373337"/>
            <a:ext cx="5870530" cy="122561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da-DK" sz="4400" b="0" i="0" u="none" strike="noStrike" kern="1200" cap="none" spc="0" normalizeH="0" baseline="0" noProof="0" dirty="0">
                <a:ln>
                  <a:noFill/>
                </a:ln>
                <a:solidFill>
                  <a:prstClr val="white"/>
                </a:solidFill>
                <a:effectLst/>
                <a:uLnTx/>
                <a:uFillTx/>
                <a:latin typeface="Segoe UI" panose="020B0502040204020203" pitchFamily="34" charset="0"/>
                <a:ea typeface="+mj-ea"/>
                <a:cs typeface="Segoe UI" panose="020B0502040204020203" pitchFamily="34" charset="0"/>
              </a:rPr>
              <a:t>Multi-User support</a:t>
            </a:r>
            <a:endParaRPr kumimoji="0" lang="en-US" sz="4400" b="0" i="0" u="none" strike="noStrike" kern="1200" cap="none" spc="0" normalizeH="0" baseline="0" noProof="0" dirty="0">
              <a:ln>
                <a:noFill/>
              </a:ln>
              <a:solidFill>
                <a:prstClr val="white"/>
              </a:solidFill>
              <a:effectLst/>
              <a:uLnTx/>
              <a:uFillTx/>
              <a:latin typeface="Segoe UI" panose="020B0502040204020203" pitchFamily="34" charset="0"/>
              <a:ea typeface="+mj-ea"/>
              <a:cs typeface="Segoe UI" panose="020B0502040204020203" pitchFamily="34" charset="0"/>
            </a:endParaRPr>
          </a:p>
        </p:txBody>
      </p:sp>
      <p:sp>
        <p:nvSpPr>
          <p:cNvPr id="83" name="Rectangle 82">
            <a:extLst>
              <a:ext uri="{FF2B5EF4-FFF2-40B4-BE49-F238E27FC236}">
                <a16:creationId xmlns:a16="http://schemas.microsoft.com/office/drawing/2014/main" id="{B64B5CBD-83E2-481E-A386-A039406F502F}"/>
              </a:ext>
            </a:extLst>
          </p:cNvPr>
          <p:cNvSpPr/>
          <p:nvPr/>
        </p:nvSpPr>
        <p:spPr>
          <a:xfrm>
            <a:off x="3604004" y="1563680"/>
            <a:ext cx="2262977" cy="1474203"/>
          </a:xfrm>
          <a:prstGeom prst="rect">
            <a:avLst/>
          </a:prstGeom>
        </p:spPr>
        <p:txBody>
          <a:bodyPr wrap="square" lIns="0" tIns="0" rIns="0" bIns="0" anchor="t" anchorCtr="0">
            <a:no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fter installing, first user registers himself/herself on the Lazarus system through Azure AD B2C service. His/her account then shows up as a tile on the dashboard, and is characterized as </a:t>
            </a:r>
            <a:r>
              <a:rPr kumimoji="0" lang="en-US" sz="1600" b="1" i="1"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Parent’ </a:t>
            </a:r>
            <a:r>
              <a:rPr kumimoji="0" lang="en-US"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ccount.</a:t>
            </a:r>
          </a:p>
        </p:txBody>
      </p:sp>
      <p:sp>
        <p:nvSpPr>
          <p:cNvPr id="84" name="Rectangle 83">
            <a:extLst>
              <a:ext uri="{FF2B5EF4-FFF2-40B4-BE49-F238E27FC236}">
                <a16:creationId xmlns:a16="http://schemas.microsoft.com/office/drawing/2014/main" id="{A61A401C-2ED7-4725-8441-7818987BC164}"/>
              </a:ext>
            </a:extLst>
          </p:cNvPr>
          <p:cNvSpPr/>
          <p:nvPr/>
        </p:nvSpPr>
        <p:spPr>
          <a:xfrm>
            <a:off x="6141880" y="1563679"/>
            <a:ext cx="2442634" cy="1474203"/>
          </a:xfrm>
          <a:prstGeom prst="rect">
            <a:avLst/>
          </a:prstGeom>
        </p:spPr>
        <p:txBody>
          <a:bodyPr wrap="square" lIns="0" tIns="0" rIns="0" bIns="0" anchor="t" anchorCtr="0">
            <a:no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ll other users on this smartphone register themselves through the same process and their account tiles add up on the dashboard, and are characterized as </a:t>
            </a:r>
            <a:r>
              <a:rPr kumimoji="0" lang="en-US" sz="1600" b="1" i="1"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User’ </a:t>
            </a:r>
            <a:r>
              <a:rPr kumimoji="0" lang="en-US"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ccount.</a:t>
            </a:r>
          </a:p>
        </p:txBody>
      </p:sp>
      <p:sp>
        <p:nvSpPr>
          <p:cNvPr id="87" name="Rectangle 86">
            <a:extLst>
              <a:ext uri="{FF2B5EF4-FFF2-40B4-BE49-F238E27FC236}">
                <a16:creationId xmlns:a16="http://schemas.microsoft.com/office/drawing/2014/main" id="{FA757CD7-5E50-4B6E-8A97-086551B3DC07}"/>
              </a:ext>
            </a:extLst>
          </p:cNvPr>
          <p:cNvSpPr/>
          <p:nvPr/>
        </p:nvSpPr>
        <p:spPr>
          <a:xfrm>
            <a:off x="3604005" y="3806269"/>
            <a:ext cx="2082462" cy="794401"/>
          </a:xfrm>
          <a:prstGeom prst="rect">
            <a:avLst/>
          </a:prstGeom>
        </p:spPr>
        <p:txBody>
          <a:bodyPr wrap="square" lIns="0" tIns="0" rIns="0" bIns="0" anchor="t" anchorCtr="0">
            <a:noAutofit/>
          </a:bodyPr>
          <a:lstStyle/>
          <a:p>
            <a:pPr marL="285750" marR="0" lvl="0" indent="-285750" algn="l" defTabSz="914400" rtl="0" eaLnBrk="1" fontAlgn="auto" latinLnBrk="0" hangingPunct="1">
              <a:lnSpc>
                <a:spcPct val="100000"/>
              </a:lnSpc>
              <a:spcBef>
                <a:spcPts val="600"/>
              </a:spcBef>
              <a:spcAft>
                <a:spcPts val="0"/>
              </a:spcAft>
              <a:buClr>
                <a:srgbClr val="4757B8"/>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Whichever user uses the app, he/she can tap on his/her tile and use all features of the app, seamlessly.</a:t>
            </a:r>
          </a:p>
        </p:txBody>
      </p:sp>
      <p:sp>
        <p:nvSpPr>
          <p:cNvPr id="88" name="Rectangle 87">
            <a:extLst>
              <a:ext uri="{FF2B5EF4-FFF2-40B4-BE49-F238E27FC236}">
                <a16:creationId xmlns:a16="http://schemas.microsoft.com/office/drawing/2014/main" id="{ACAC596E-8EA2-455F-86A8-58590B88CA90}"/>
              </a:ext>
            </a:extLst>
          </p:cNvPr>
          <p:cNvSpPr/>
          <p:nvPr/>
        </p:nvSpPr>
        <p:spPr>
          <a:xfrm>
            <a:off x="5964506" y="3806269"/>
            <a:ext cx="2788877" cy="702919"/>
          </a:xfrm>
          <a:prstGeom prst="rect">
            <a:avLst/>
          </a:prstGeom>
        </p:spPr>
        <p:txBody>
          <a:bodyPr wrap="square" lIns="0" tIns="0" rIns="0" bIns="0" anchor="t" anchorCtr="0">
            <a:noAutofit/>
          </a:bodyPr>
          <a:lstStyle/>
          <a:p>
            <a:pPr marL="285750" marR="0" lvl="0" indent="-285750" algn="l" defTabSz="914400" rtl="0" eaLnBrk="1" fontAlgn="auto" latinLnBrk="0" hangingPunct="1">
              <a:lnSpc>
                <a:spcPct val="100000"/>
              </a:lnSpc>
              <a:spcBef>
                <a:spcPts val="600"/>
              </a:spcBef>
              <a:spcAft>
                <a:spcPts val="0"/>
              </a:spcAft>
              <a:buClr>
                <a:srgbClr val="4757B8"/>
              </a:buClr>
              <a:buSzTx/>
              <a:buFont typeface="Arial" panose="020B0604020202020204" pitchFamily="34" charset="0"/>
              <a:buChar char="•"/>
              <a:tabLst/>
              <a:defRPr/>
            </a:pPr>
            <a:r>
              <a:rPr lang="en-US" sz="1400" dirty="0">
                <a:solidFill>
                  <a:prstClr val="black">
                    <a:lumMod val="75000"/>
                    <a:lumOff val="25000"/>
                  </a:prstClr>
                </a:solidFill>
                <a:latin typeface="Segoe UI" panose="020B0502040204020203" pitchFamily="34" charset="0"/>
                <a:cs typeface="Segoe UI" panose="020B0502040204020203" pitchFamily="34" charset="0"/>
              </a:rPr>
              <a:t>Data</a:t>
            </a: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generated while one user uses the app (including contact tracing data), is stored and maintained in app database (sqlite3) and a Firestore (cloud) database against the respective user account. </a:t>
            </a:r>
          </a:p>
        </p:txBody>
      </p:sp>
      <p:grpSp>
        <p:nvGrpSpPr>
          <p:cNvPr id="97" name="Group 96">
            <a:extLst>
              <a:ext uri="{FF2B5EF4-FFF2-40B4-BE49-F238E27FC236}">
                <a16:creationId xmlns:a16="http://schemas.microsoft.com/office/drawing/2014/main" id="{2FA8096A-90C9-44BA-8D90-E1A1F966F233}"/>
              </a:ext>
            </a:extLst>
          </p:cNvPr>
          <p:cNvGrpSpPr/>
          <p:nvPr/>
        </p:nvGrpSpPr>
        <p:grpSpPr>
          <a:xfrm>
            <a:off x="-95230" y="558571"/>
            <a:ext cx="3926164" cy="5619392"/>
            <a:chOff x="3872086" y="4072109"/>
            <a:chExt cx="3926164" cy="5619392"/>
          </a:xfrm>
        </p:grpSpPr>
        <p:pic>
          <p:nvPicPr>
            <p:cNvPr id="99" name="Picture 98">
              <a:extLst>
                <a:ext uri="{FF2B5EF4-FFF2-40B4-BE49-F238E27FC236}">
                  <a16:creationId xmlns:a16="http://schemas.microsoft.com/office/drawing/2014/main" id="{20074587-80D6-41F3-9511-628FBBD2A01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554427" y="4234267"/>
              <a:ext cx="2561481" cy="5122962"/>
            </a:xfrm>
            <a:prstGeom prst="roundRect">
              <a:avLst>
                <a:gd name="adj" fmla="val 8562"/>
              </a:avLst>
            </a:prstGeom>
            <a:ln>
              <a:noFill/>
            </a:ln>
          </p:spPr>
        </p:pic>
        <p:pic>
          <p:nvPicPr>
            <p:cNvPr id="100" name="Picture 99">
              <a:extLst>
                <a:ext uri="{FF2B5EF4-FFF2-40B4-BE49-F238E27FC236}">
                  <a16:creationId xmlns:a16="http://schemas.microsoft.com/office/drawing/2014/main" id="{99C8A865-1B34-4AFA-A69A-F3637233C11D}"/>
                </a:ext>
              </a:extLst>
            </p:cNvPr>
            <p:cNvPicPr>
              <a:picLocks noChangeAspect="1"/>
            </p:cNvPicPr>
            <p:nvPr/>
          </p:nvPicPr>
          <p:blipFill>
            <a:blip r:embed="rId7"/>
            <a:stretch>
              <a:fillRect/>
            </a:stretch>
          </p:blipFill>
          <p:spPr>
            <a:xfrm>
              <a:off x="3872086" y="4072109"/>
              <a:ext cx="3926164" cy="5619392"/>
            </a:xfrm>
            <a:prstGeom prst="rect">
              <a:avLst/>
            </a:prstGeom>
            <a:blipFill>
              <a:blip r:embed="rId8"/>
              <a:stretch>
                <a:fillRect/>
              </a:stretch>
            </a:blipFill>
          </p:spPr>
        </p:pic>
      </p:grpSp>
      <p:grpSp>
        <p:nvGrpSpPr>
          <p:cNvPr id="102" name="Group 101">
            <a:extLst>
              <a:ext uri="{FF2B5EF4-FFF2-40B4-BE49-F238E27FC236}">
                <a16:creationId xmlns:a16="http://schemas.microsoft.com/office/drawing/2014/main" id="{62623611-8DFA-4355-861C-C3091CF83B41}"/>
              </a:ext>
            </a:extLst>
          </p:cNvPr>
          <p:cNvGrpSpPr/>
          <p:nvPr/>
        </p:nvGrpSpPr>
        <p:grpSpPr>
          <a:xfrm>
            <a:off x="8404857" y="1171379"/>
            <a:ext cx="3926164" cy="5619392"/>
            <a:chOff x="2935163" y="3738956"/>
            <a:chExt cx="3926164" cy="5619392"/>
          </a:xfrm>
        </p:grpSpPr>
        <p:pic>
          <p:nvPicPr>
            <p:cNvPr id="103" name="Picture 102">
              <a:extLst>
                <a:ext uri="{FF2B5EF4-FFF2-40B4-BE49-F238E27FC236}">
                  <a16:creationId xmlns:a16="http://schemas.microsoft.com/office/drawing/2014/main" id="{C1DC2802-D6B8-45A1-B402-C5FE6FB4C2C2}"/>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637823" y="3876816"/>
              <a:ext cx="2561481" cy="5155476"/>
            </a:xfrm>
            <a:prstGeom prst="roundRect">
              <a:avLst>
                <a:gd name="adj" fmla="val 8562"/>
              </a:avLst>
            </a:prstGeom>
            <a:ln>
              <a:noFill/>
            </a:ln>
          </p:spPr>
        </p:pic>
        <p:pic>
          <p:nvPicPr>
            <p:cNvPr id="104" name="Picture 103">
              <a:extLst>
                <a:ext uri="{FF2B5EF4-FFF2-40B4-BE49-F238E27FC236}">
                  <a16:creationId xmlns:a16="http://schemas.microsoft.com/office/drawing/2014/main" id="{75E7FFEC-E093-4C4B-A4D0-6366328CF8F9}"/>
                </a:ext>
              </a:extLst>
            </p:cNvPr>
            <p:cNvPicPr>
              <a:picLocks noChangeAspect="1"/>
            </p:cNvPicPr>
            <p:nvPr/>
          </p:nvPicPr>
          <p:blipFill>
            <a:blip r:embed="rId7"/>
            <a:stretch>
              <a:fillRect/>
            </a:stretch>
          </p:blipFill>
          <p:spPr>
            <a:xfrm>
              <a:off x="2935163" y="3738956"/>
              <a:ext cx="3926164" cy="5619392"/>
            </a:xfrm>
            <a:prstGeom prst="rect">
              <a:avLst/>
            </a:prstGeom>
            <a:blipFill>
              <a:blip r:embed="rId8"/>
              <a:stretch>
                <a:fillRect/>
              </a:stretch>
            </a:blipFill>
          </p:spPr>
        </p:pic>
      </p:grpSp>
      <p:sp>
        <p:nvSpPr>
          <p:cNvPr id="105" name="Rectangle 104">
            <a:extLst>
              <a:ext uri="{FF2B5EF4-FFF2-40B4-BE49-F238E27FC236}">
                <a16:creationId xmlns:a16="http://schemas.microsoft.com/office/drawing/2014/main" id="{7094F5E4-C168-4887-B725-92970784A3C9}"/>
              </a:ext>
            </a:extLst>
          </p:cNvPr>
          <p:cNvSpPr/>
          <p:nvPr/>
        </p:nvSpPr>
        <p:spPr>
          <a:xfrm>
            <a:off x="3606809" y="5389248"/>
            <a:ext cx="5149378" cy="704427"/>
          </a:xfrm>
          <a:prstGeom prst="rect">
            <a:avLst/>
          </a:prstGeom>
        </p:spPr>
        <p:txBody>
          <a:bodyPr wrap="square" lIns="0" tIns="0" rIns="0" bIns="0" anchor="t" anchorCtr="0">
            <a:noAutofit/>
          </a:bodyPr>
          <a:lstStyle/>
          <a:p>
            <a:pPr marL="285750" marR="0" lvl="0" indent="-285750" algn="just" defTabSz="914400" rtl="0" eaLnBrk="1" fontAlgn="auto" latinLnBrk="0" hangingPunct="1">
              <a:lnSpc>
                <a:spcPct val="100000"/>
              </a:lnSpc>
              <a:spcBef>
                <a:spcPts val="600"/>
              </a:spcBef>
              <a:spcAft>
                <a:spcPts val="0"/>
              </a:spcAft>
              <a:buClr>
                <a:srgbClr val="4757B8"/>
              </a:buClr>
              <a:buSzTx/>
              <a:buFont typeface="Arial" panose="020B0604020202020204" pitchFamily="34" charset="0"/>
              <a:buChar char="•"/>
              <a:tabLst/>
              <a:defRPr/>
            </a:pPr>
            <a:r>
              <a:rPr lang="en-US" sz="1400" i="1" dirty="0">
                <a:solidFill>
                  <a:prstClr val="black">
                    <a:lumMod val="75000"/>
                    <a:lumOff val="25000"/>
                  </a:prstClr>
                </a:solidFill>
                <a:latin typeface="Segoe UI" panose="020B0502040204020203" pitchFamily="34" charset="0"/>
                <a:cs typeface="Segoe UI" panose="020B0502040204020203" pitchFamily="34" charset="0"/>
              </a:rPr>
              <a:t>‘Family’ </a:t>
            </a:r>
            <a:r>
              <a:rPr lang="en-US" sz="1400" dirty="0">
                <a:solidFill>
                  <a:prstClr val="black">
                    <a:lumMod val="75000"/>
                    <a:lumOff val="25000"/>
                  </a:prstClr>
                </a:solidFill>
                <a:latin typeface="Segoe UI" panose="020B0502040204020203" pitchFamily="34" charset="0"/>
                <a:cs typeface="Segoe UI" panose="020B0502040204020203" pitchFamily="34" charset="0"/>
              </a:rPr>
              <a:t>type of account is for people who share home with above users but have their own smartphone. Such accounts are inactive on this smartphone, only for reference, so that Lazarus system can mark them as affected too if any of the above users are infected.</a:t>
            </a:r>
            <a:endPar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527299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F835E444-F82B-4DE3-B53E-5D51EFC0CF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8" name="Object 57" hidden="1">
                        <a:extLst>
                          <a:ext uri="{FF2B5EF4-FFF2-40B4-BE49-F238E27FC236}">
                            <a16:creationId xmlns:a16="http://schemas.microsoft.com/office/drawing/2014/main" id="{F835E444-F82B-4DE3-B53E-5D51EFC0CF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A0A02496-88EA-4B41-9E5D-338FC62291EF}"/>
              </a:ext>
            </a:extLst>
          </p:cNvPr>
          <p:cNvSpPr/>
          <p:nvPr/>
        </p:nvSpPr>
        <p:spPr>
          <a:xfrm>
            <a:off x="1" y="1"/>
            <a:ext cx="12192000" cy="1655768"/>
          </a:xfrm>
          <a:prstGeom prst="rect">
            <a:avLst/>
          </a:prstGeom>
          <a:gradFill flip="none" rotWithShape="1">
            <a:gsLst>
              <a:gs pos="0">
                <a:srgbClr val="2F2F37">
                  <a:alpha val="90000"/>
                </a:srgbClr>
              </a:gs>
              <a:gs pos="94000">
                <a:srgbClr val="1E1E24">
                  <a:alpha val="8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Title 3">
            <a:extLst>
              <a:ext uri="{FF2B5EF4-FFF2-40B4-BE49-F238E27FC236}">
                <a16:creationId xmlns:a16="http://schemas.microsoft.com/office/drawing/2014/main" id="{EB2D913B-6EEF-4B66-9A3E-17021769FBAE}"/>
              </a:ext>
            </a:extLst>
          </p:cNvPr>
          <p:cNvSpPr txBox="1">
            <a:spLocks/>
          </p:cNvSpPr>
          <p:nvPr/>
        </p:nvSpPr>
        <p:spPr>
          <a:xfrm>
            <a:off x="5693439" y="430153"/>
            <a:ext cx="5870530" cy="122561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da-DK" sz="4400" b="0" i="0" u="none" strike="noStrike" kern="1200" cap="none" spc="0" normalizeH="0" baseline="0" noProof="0" dirty="0">
                <a:ln>
                  <a:noFill/>
                </a:ln>
                <a:solidFill>
                  <a:prstClr val="white"/>
                </a:solidFill>
                <a:effectLst/>
                <a:uLnTx/>
                <a:uFillTx/>
                <a:latin typeface="Segoe UI" panose="020B0502040204020203" pitchFamily="34" charset="0"/>
                <a:ea typeface="+mj-ea"/>
                <a:cs typeface="Segoe UI" panose="020B0502040204020203" pitchFamily="34" charset="0"/>
              </a:rPr>
              <a:t>Contact Tracing</a:t>
            </a:r>
            <a:endParaRPr kumimoji="0" lang="en-US" sz="4400" b="0" i="0" u="none" strike="noStrike" kern="1200" cap="none" spc="0" normalizeH="0" baseline="0" noProof="0" dirty="0">
              <a:ln>
                <a:noFill/>
              </a:ln>
              <a:solidFill>
                <a:prstClr val="white"/>
              </a:solidFill>
              <a:effectLst/>
              <a:uLnTx/>
              <a:uFillTx/>
              <a:latin typeface="Segoe UI" panose="020B0502040204020203" pitchFamily="34" charset="0"/>
              <a:ea typeface="+mj-ea"/>
              <a:cs typeface="Segoe UI" panose="020B0502040204020203" pitchFamily="34" charset="0"/>
            </a:endParaRPr>
          </a:p>
        </p:txBody>
      </p:sp>
      <p:sp>
        <p:nvSpPr>
          <p:cNvPr id="83" name="Rectangle 82">
            <a:extLst>
              <a:ext uri="{FF2B5EF4-FFF2-40B4-BE49-F238E27FC236}">
                <a16:creationId xmlns:a16="http://schemas.microsoft.com/office/drawing/2014/main" id="{B64B5CBD-83E2-481E-A386-A039406F502F}"/>
              </a:ext>
            </a:extLst>
          </p:cNvPr>
          <p:cNvSpPr/>
          <p:nvPr/>
        </p:nvSpPr>
        <p:spPr>
          <a:xfrm>
            <a:off x="5693439" y="1761529"/>
            <a:ext cx="6230927" cy="1503275"/>
          </a:xfrm>
          <a:prstGeom prst="rect">
            <a:avLst/>
          </a:prstGeom>
        </p:spPr>
        <p:txBody>
          <a:bodyPr wrap="square" lIns="0" tIns="0" rIns="0" bIns="0" anchor="t" anchorCtr="0">
            <a:no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When BLE scanning is on, the app generates a unique timestamped code and stores it in database. It then broadcasts this code without the timestamp, while nearby apps scan this code, </a:t>
            </a:r>
            <a:r>
              <a:rPr kumimoji="0" lang="en-US" sz="1600" b="0" i="1"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dd the timestamp themselves, </a:t>
            </a:r>
            <a:r>
              <a:rPr kumimoji="0" lang="en-US"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nd store the resultant code in their database. When one user is infected, he/she uploads all code generated by his/her app. These codes will match with other users only if they were close to the infected and if their apps scanned the codes at the same time as they were generated by infected</a:t>
            </a:r>
            <a:r>
              <a:rPr lang="en-US" sz="1600" dirty="0">
                <a:solidFill>
                  <a:prstClr val="black">
                    <a:lumMod val="75000"/>
                    <a:lumOff val="25000"/>
                  </a:prstClr>
                </a:solidFill>
                <a:latin typeface="Segoe UI" panose="020B0502040204020203" pitchFamily="34" charset="0"/>
                <a:cs typeface="Segoe UI" panose="020B0502040204020203" pitchFamily="34" charset="0"/>
              </a:rPr>
              <a:t> user’s</a:t>
            </a:r>
            <a:r>
              <a:rPr kumimoji="0" lang="en-US"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app. Thus Lazarus system does not periodically require a complex security key generated from a parent server (like Singapore’s TraceTogether app), but still carries out contact tracing </a:t>
            </a:r>
            <a:r>
              <a:rPr kumimoji="0" lang="en-US" sz="1600" b="1"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free of forged codes</a:t>
            </a:r>
            <a:r>
              <a:rPr kumimoji="0" lang="en-US" sz="16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p:txBody>
      </p:sp>
      <p:sp>
        <p:nvSpPr>
          <p:cNvPr id="85" name="Rectangle 84">
            <a:extLst>
              <a:ext uri="{FF2B5EF4-FFF2-40B4-BE49-F238E27FC236}">
                <a16:creationId xmlns:a16="http://schemas.microsoft.com/office/drawing/2014/main" id="{E47E059F-2215-4579-9F28-6801D34F6BFC}"/>
              </a:ext>
            </a:extLst>
          </p:cNvPr>
          <p:cNvSpPr/>
          <p:nvPr/>
        </p:nvSpPr>
        <p:spPr>
          <a:xfrm>
            <a:off x="5588564" y="4639291"/>
            <a:ext cx="6335802" cy="778380"/>
          </a:xfrm>
          <a:prstGeom prst="rect">
            <a:avLst/>
          </a:prstGeom>
        </p:spPr>
        <p:txBody>
          <a:bodyPr wrap="square" lIns="0" tIns="0" rIns="0" bIns="0" anchor="t" anchorCtr="0">
            <a:noAutofit/>
          </a:bodyPr>
          <a:lstStyle/>
          <a:p>
            <a:pPr marR="0" lvl="0" algn="r" defTabSz="914400" rtl="0" eaLnBrk="1" fontAlgn="auto" latinLnBrk="0" hangingPunct="1">
              <a:lnSpc>
                <a:spcPct val="100000"/>
              </a:lnSpc>
              <a:spcBef>
                <a:spcPts val="600"/>
              </a:spcBef>
              <a:spcAft>
                <a:spcPts val="0"/>
              </a:spcAft>
              <a:buClr>
                <a:srgbClr val="4757B8"/>
              </a:buClr>
              <a:buSzTx/>
              <a:tabLst/>
              <a:defRPr/>
            </a:pPr>
            <a:r>
              <a:rPr lang="en-US" sz="1300" dirty="0">
                <a:solidFill>
                  <a:schemeClr val="tx1">
                    <a:lumMod val="75000"/>
                    <a:lumOff val="25000"/>
                  </a:schemeClr>
                </a:solidFill>
                <a:latin typeface="Segoe UI" panose="020B0502040204020203" pitchFamily="34" charset="0"/>
                <a:cs typeface="Segoe UI" panose="020B0502040204020203" pitchFamily="34" charset="0"/>
              </a:rPr>
              <a:t>S</a:t>
            </a:r>
            <a:r>
              <a:rPr lang="en-US" sz="1300" i="0" u="none" strike="noStrike" dirty="0">
                <a:solidFill>
                  <a:schemeClr val="tx1">
                    <a:lumMod val="75000"/>
                    <a:lumOff val="25000"/>
                  </a:schemeClr>
                </a:solidFill>
                <a:effectLst/>
                <a:latin typeface="Segoe UI" panose="020B0502040204020203" pitchFamily="34" charset="0"/>
                <a:cs typeface="Segoe UI" panose="020B0502040204020203" pitchFamily="34" charset="0"/>
              </a:rPr>
              <a:t>uppose user B starts up BLE tracker on his/her interface and leaves. The other users cannot  record their contacts when they go outside. </a:t>
            </a:r>
            <a:r>
              <a:rPr lang="en-US" sz="1300" dirty="0">
                <a:solidFill>
                  <a:schemeClr val="tx1">
                    <a:lumMod val="75000"/>
                    <a:lumOff val="25000"/>
                  </a:schemeClr>
                </a:solidFill>
                <a:latin typeface="Segoe UI" panose="020B0502040204020203" pitchFamily="34" charset="0"/>
                <a:cs typeface="Segoe UI" panose="020B0502040204020203" pitchFamily="34" charset="0"/>
              </a:rPr>
              <a:t>And</a:t>
            </a:r>
            <a:r>
              <a:rPr lang="en-US" sz="1300" i="0" u="none" strike="noStrike" dirty="0">
                <a:solidFill>
                  <a:schemeClr val="tx1">
                    <a:lumMod val="75000"/>
                    <a:lumOff val="25000"/>
                  </a:schemeClr>
                </a:solidFill>
                <a:effectLst/>
                <a:latin typeface="Segoe UI" panose="020B0502040204020203" pitchFamily="34" charset="0"/>
                <a:cs typeface="Segoe UI" panose="020B0502040204020203" pitchFamily="34" charset="0"/>
              </a:rPr>
              <a:t> user B cannot record contacts with people without a smartphone having Lazarus, or not registered with Lazarus at all. For this we have a </a:t>
            </a:r>
            <a:r>
              <a:rPr lang="en-US" sz="1300" b="1" i="1" u="none" strike="noStrike" dirty="0">
                <a:solidFill>
                  <a:schemeClr val="tx1">
                    <a:lumMod val="75000"/>
                    <a:lumOff val="25000"/>
                  </a:schemeClr>
                </a:solidFill>
                <a:effectLst/>
                <a:latin typeface="Segoe UI" panose="020B0502040204020203" pitchFamily="34" charset="0"/>
                <a:cs typeface="Segoe UI" panose="020B0502040204020203" pitchFamily="34" charset="0"/>
              </a:rPr>
              <a:t>‘SIGN-IN’ </a:t>
            </a:r>
            <a:r>
              <a:rPr lang="en-US" sz="1300" i="0" u="none" strike="noStrike" dirty="0">
                <a:solidFill>
                  <a:schemeClr val="tx1">
                    <a:lumMod val="75000"/>
                    <a:lumOff val="25000"/>
                  </a:schemeClr>
                </a:solidFill>
                <a:effectLst/>
                <a:latin typeface="Segoe UI" panose="020B0502040204020203" pitchFamily="34" charset="0"/>
                <a:cs typeface="Segoe UI" panose="020B0502040204020203" pitchFamily="34" charset="0"/>
              </a:rPr>
              <a:t>feature. The smartphone  carrying app-user(say user D) can ask for the phone number of the person with no smartphone or account (say person E). Just like BLE, a unique time stamped code is stored in D’s app database and a temporary folder in cloud Firestore stores identical code for E. When E opens his account on app this code syncs with his/her app database. So an interaction which could have been missed by BLE, is captured.</a:t>
            </a:r>
            <a:endParaRPr kumimoji="0" lang="en-US" sz="130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endParaRPr>
          </a:p>
        </p:txBody>
      </p:sp>
      <p:sp>
        <p:nvSpPr>
          <p:cNvPr id="87" name="Rectangle 86">
            <a:extLst>
              <a:ext uri="{FF2B5EF4-FFF2-40B4-BE49-F238E27FC236}">
                <a16:creationId xmlns:a16="http://schemas.microsoft.com/office/drawing/2014/main" id="{FA757CD7-5E50-4B6E-8A97-086551B3DC07}"/>
              </a:ext>
            </a:extLst>
          </p:cNvPr>
          <p:cNvSpPr/>
          <p:nvPr/>
        </p:nvSpPr>
        <p:spPr>
          <a:xfrm>
            <a:off x="388257" y="5814587"/>
            <a:ext cx="5175504" cy="702919"/>
          </a:xfrm>
          <a:prstGeom prst="rect">
            <a:avLst/>
          </a:prstGeom>
        </p:spPr>
        <p:txBody>
          <a:bodyPr wrap="square" lIns="0" tIns="0" rIns="0" bIns="0" anchor="t" anchorCtr="0">
            <a:noAutofit/>
          </a:bodyPr>
          <a:lstStyle/>
          <a:p>
            <a:pPr marR="0" lvl="0" algn="l" defTabSz="914400" rtl="0" eaLnBrk="1" fontAlgn="auto" latinLnBrk="0" hangingPunct="1">
              <a:lnSpc>
                <a:spcPct val="100000"/>
              </a:lnSpc>
              <a:spcBef>
                <a:spcPts val="600"/>
              </a:spcBef>
              <a:spcAft>
                <a:spcPts val="0"/>
              </a:spcAft>
              <a:buClr>
                <a:srgbClr val="4757B8"/>
              </a:buClr>
              <a:buSzTx/>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apping on an account tile on dashboard opens up user-specific interface. </a:t>
            </a:r>
            <a:r>
              <a:rPr lang="en-US" sz="1400" dirty="0">
                <a:solidFill>
                  <a:prstClr val="black">
                    <a:lumMod val="75000"/>
                    <a:lumOff val="25000"/>
                  </a:prstClr>
                </a:solidFill>
                <a:latin typeface="Segoe UI" panose="020B0502040204020203" pitchFamily="34" charset="0"/>
                <a:cs typeface="Segoe UI" panose="020B0502040204020203" pitchFamily="34" charset="0"/>
              </a:rPr>
              <a:t>The </a:t>
            </a:r>
            <a:r>
              <a:rPr lang="en-US" sz="1400" b="1" dirty="0">
                <a:solidFill>
                  <a:prstClr val="black">
                    <a:lumMod val="75000"/>
                    <a:lumOff val="25000"/>
                  </a:prstClr>
                </a:solidFill>
                <a:latin typeface="Segoe UI" panose="020B0502040204020203" pitchFamily="34" charset="0"/>
                <a:cs typeface="Segoe UI" panose="020B0502040204020203" pitchFamily="34" charset="0"/>
              </a:rPr>
              <a:t>‘</a:t>
            </a:r>
            <a:r>
              <a:rPr lang="en-US" sz="1400" b="1" i="1" dirty="0">
                <a:solidFill>
                  <a:prstClr val="black">
                    <a:lumMod val="75000"/>
                    <a:lumOff val="25000"/>
                  </a:prstClr>
                </a:solidFill>
                <a:latin typeface="Segoe UI" panose="020B0502040204020203" pitchFamily="34" charset="0"/>
                <a:cs typeface="Segoe UI" panose="020B0502040204020203" pitchFamily="34" charset="0"/>
              </a:rPr>
              <a:t>Start/Stop Scan</a:t>
            </a:r>
            <a:r>
              <a:rPr lang="en-US" sz="1400" b="1" dirty="0">
                <a:solidFill>
                  <a:prstClr val="black">
                    <a:lumMod val="75000"/>
                    <a:lumOff val="25000"/>
                  </a:prstClr>
                </a:solidFill>
                <a:latin typeface="Segoe UI" panose="020B0502040204020203" pitchFamily="34" charset="0"/>
                <a:cs typeface="Segoe UI" panose="020B0502040204020203" pitchFamily="34" charset="0"/>
              </a:rPr>
              <a:t>’ </a:t>
            </a:r>
            <a:r>
              <a:rPr lang="en-US" sz="1400" dirty="0">
                <a:solidFill>
                  <a:prstClr val="black">
                    <a:lumMod val="75000"/>
                    <a:lumOff val="25000"/>
                  </a:prstClr>
                </a:solidFill>
                <a:latin typeface="Segoe UI" panose="020B0502040204020203" pitchFamily="34" charset="0"/>
                <a:cs typeface="Segoe UI" panose="020B0502040204020203" pitchFamily="34" charset="0"/>
              </a:rPr>
              <a:t>option is a BLE proximity tracker just like any other app. The </a:t>
            </a:r>
            <a:r>
              <a:rPr lang="en-US" sz="1400" b="1" dirty="0">
                <a:solidFill>
                  <a:prstClr val="black">
                    <a:lumMod val="75000"/>
                    <a:lumOff val="25000"/>
                  </a:prstClr>
                </a:solidFill>
                <a:latin typeface="Segoe UI" panose="020B0502040204020203" pitchFamily="34" charset="0"/>
                <a:cs typeface="Segoe UI" panose="020B0502040204020203" pitchFamily="34" charset="0"/>
              </a:rPr>
              <a:t>‘</a:t>
            </a:r>
            <a:r>
              <a:rPr lang="en-US" sz="1400" b="1" i="1" dirty="0">
                <a:solidFill>
                  <a:prstClr val="black">
                    <a:lumMod val="75000"/>
                    <a:lumOff val="25000"/>
                  </a:prstClr>
                </a:solidFill>
                <a:latin typeface="Segoe UI" panose="020B0502040204020203" pitchFamily="34" charset="0"/>
                <a:cs typeface="Segoe UI" panose="020B0502040204020203" pitchFamily="34" charset="0"/>
              </a:rPr>
              <a:t>Record Attendance</a:t>
            </a:r>
            <a:r>
              <a:rPr lang="en-US" sz="1400" b="1" dirty="0">
                <a:solidFill>
                  <a:prstClr val="black">
                    <a:lumMod val="75000"/>
                    <a:lumOff val="25000"/>
                  </a:prstClr>
                </a:solidFill>
                <a:latin typeface="Segoe UI" panose="020B0502040204020203" pitchFamily="34" charset="0"/>
                <a:cs typeface="Segoe UI" panose="020B0502040204020203" pitchFamily="34" charset="0"/>
              </a:rPr>
              <a:t>’ </a:t>
            </a:r>
            <a:r>
              <a:rPr lang="en-US" sz="1400" dirty="0">
                <a:solidFill>
                  <a:prstClr val="black">
                    <a:lumMod val="75000"/>
                    <a:lumOff val="25000"/>
                  </a:prstClr>
                </a:solidFill>
                <a:latin typeface="Segoe UI" panose="020B0502040204020203" pitchFamily="34" charset="0"/>
                <a:cs typeface="Segoe UI" panose="020B0502040204020203" pitchFamily="34" charset="0"/>
              </a:rPr>
              <a:t>feature provides non-BLE solution.</a:t>
            </a:r>
            <a:endPar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p:txBody>
      </p:sp>
      <p:grpSp>
        <p:nvGrpSpPr>
          <p:cNvPr id="97" name="Group 96">
            <a:extLst>
              <a:ext uri="{FF2B5EF4-FFF2-40B4-BE49-F238E27FC236}">
                <a16:creationId xmlns:a16="http://schemas.microsoft.com/office/drawing/2014/main" id="{5BD2FEC7-A3D8-4698-A70B-AD4EFBFCE5EF}"/>
              </a:ext>
            </a:extLst>
          </p:cNvPr>
          <p:cNvGrpSpPr/>
          <p:nvPr/>
        </p:nvGrpSpPr>
        <p:grpSpPr>
          <a:xfrm>
            <a:off x="-294085" y="208655"/>
            <a:ext cx="3926164" cy="5619392"/>
            <a:chOff x="2955481" y="3738956"/>
            <a:chExt cx="3926164" cy="5619392"/>
          </a:xfrm>
        </p:grpSpPr>
        <p:pic>
          <p:nvPicPr>
            <p:cNvPr id="99" name="Picture 98">
              <a:extLst>
                <a:ext uri="{FF2B5EF4-FFF2-40B4-BE49-F238E27FC236}">
                  <a16:creationId xmlns:a16="http://schemas.microsoft.com/office/drawing/2014/main" id="{FA115855-A4EC-42FB-9FF1-0A0042154A3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637823" y="3893073"/>
              <a:ext cx="2561481" cy="5122962"/>
            </a:xfrm>
            <a:prstGeom prst="roundRect">
              <a:avLst>
                <a:gd name="adj" fmla="val 8562"/>
              </a:avLst>
            </a:prstGeom>
            <a:ln>
              <a:noFill/>
            </a:ln>
          </p:spPr>
        </p:pic>
        <p:pic>
          <p:nvPicPr>
            <p:cNvPr id="100" name="Picture 99">
              <a:extLst>
                <a:ext uri="{FF2B5EF4-FFF2-40B4-BE49-F238E27FC236}">
                  <a16:creationId xmlns:a16="http://schemas.microsoft.com/office/drawing/2014/main" id="{BE81ABE5-EB2F-4422-908A-F2A05A661894}"/>
                </a:ext>
              </a:extLst>
            </p:cNvPr>
            <p:cNvPicPr>
              <a:picLocks noChangeAspect="1"/>
            </p:cNvPicPr>
            <p:nvPr/>
          </p:nvPicPr>
          <p:blipFill>
            <a:blip r:embed="rId7"/>
            <a:stretch>
              <a:fillRect/>
            </a:stretch>
          </p:blipFill>
          <p:spPr>
            <a:xfrm>
              <a:off x="2955481" y="3738956"/>
              <a:ext cx="3926164" cy="5619392"/>
            </a:xfrm>
            <a:prstGeom prst="rect">
              <a:avLst/>
            </a:prstGeom>
            <a:blipFill>
              <a:blip r:embed="rId8"/>
              <a:stretch>
                <a:fillRect/>
              </a:stretch>
            </a:blipFill>
          </p:spPr>
        </p:pic>
      </p:grpSp>
      <p:grpSp>
        <p:nvGrpSpPr>
          <p:cNvPr id="102" name="Group 101">
            <a:extLst>
              <a:ext uri="{FF2B5EF4-FFF2-40B4-BE49-F238E27FC236}">
                <a16:creationId xmlns:a16="http://schemas.microsoft.com/office/drawing/2014/main" id="{0983DB6B-67BB-4169-BF44-BA174154160E}"/>
              </a:ext>
            </a:extLst>
          </p:cNvPr>
          <p:cNvGrpSpPr/>
          <p:nvPr/>
        </p:nvGrpSpPr>
        <p:grpSpPr>
          <a:xfrm>
            <a:off x="2022794" y="208655"/>
            <a:ext cx="3926164" cy="5619392"/>
            <a:chOff x="2929841" y="3738956"/>
            <a:chExt cx="3926164" cy="5619392"/>
          </a:xfrm>
        </p:grpSpPr>
        <p:pic>
          <p:nvPicPr>
            <p:cNvPr id="103" name="Picture 102">
              <a:extLst>
                <a:ext uri="{FF2B5EF4-FFF2-40B4-BE49-F238E27FC236}">
                  <a16:creationId xmlns:a16="http://schemas.microsoft.com/office/drawing/2014/main" id="{DD0B06E2-84C7-4C57-AE2B-E8326ECA8DDD}"/>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637823" y="3893073"/>
              <a:ext cx="2561481" cy="5122962"/>
            </a:xfrm>
            <a:prstGeom prst="roundRect">
              <a:avLst>
                <a:gd name="adj" fmla="val 8562"/>
              </a:avLst>
            </a:prstGeom>
            <a:ln>
              <a:noFill/>
            </a:ln>
          </p:spPr>
        </p:pic>
        <p:pic>
          <p:nvPicPr>
            <p:cNvPr id="104" name="Picture 103">
              <a:extLst>
                <a:ext uri="{FF2B5EF4-FFF2-40B4-BE49-F238E27FC236}">
                  <a16:creationId xmlns:a16="http://schemas.microsoft.com/office/drawing/2014/main" id="{F75EE778-1C95-4817-85C5-9EB7354EE0DC}"/>
                </a:ext>
              </a:extLst>
            </p:cNvPr>
            <p:cNvPicPr>
              <a:picLocks noChangeAspect="1"/>
            </p:cNvPicPr>
            <p:nvPr/>
          </p:nvPicPr>
          <p:blipFill>
            <a:blip r:embed="rId7"/>
            <a:stretch>
              <a:fillRect/>
            </a:stretch>
          </p:blipFill>
          <p:spPr>
            <a:xfrm>
              <a:off x="2929841" y="3738956"/>
              <a:ext cx="3926164" cy="5619392"/>
            </a:xfrm>
            <a:prstGeom prst="rect">
              <a:avLst/>
            </a:prstGeom>
            <a:blipFill>
              <a:blip r:embed="rId8"/>
              <a:stretch>
                <a:fillRect/>
              </a:stretch>
            </a:blipFill>
          </p:spPr>
        </p:pic>
      </p:grpSp>
      <p:sp>
        <p:nvSpPr>
          <p:cNvPr id="2" name="Oval 1">
            <a:extLst>
              <a:ext uri="{FF2B5EF4-FFF2-40B4-BE49-F238E27FC236}">
                <a16:creationId xmlns:a16="http://schemas.microsoft.com/office/drawing/2014/main" id="{6A34EEB9-16C5-43EA-9879-58E69D9198D7}"/>
              </a:ext>
            </a:extLst>
          </p:cNvPr>
          <p:cNvSpPr/>
          <p:nvPr/>
        </p:nvSpPr>
        <p:spPr>
          <a:xfrm>
            <a:off x="674703" y="3599373"/>
            <a:ext cx="816746" cy="745527"/>
          </a:xfrm>
          <a:prstGeom prst="ellipse">
            <a:avLst/>
          </a:prstGeom>
          <a:noFill/>
          <a:ln w="2857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 name="Picture 2">
            <a:extLst>
              <a:ext uri="{FF2B5EF4-FFF2-40B4-BE49-F238E27FC236}">
                <a16:creationId xmlns:a16="http://schemas.microsoft.com/office/drawing/2014/main" id="{A19109B1-91F6-4752-A144-DCDCE4281897}"/>
              </a:ext>
            </a:extLst>
          </p:cNvPr>
          <p:cNvPicPr>
            <a:picLocks noChangeAspect="1"/>
          </p:cNvPicPr>
          <p:nvPr/>
        </p:nvPicPr>
        <p:blipFill>
          <a:blip r:embed="rId10"/>
          <a:stretch>
            <a:fillRect/>
          </a:stretch>
        </p:blipFill>
        <p:spPr>
          <a:xfrm>
            <a:off x="1750082" y="3599315"/>
            <a:ext cx="847417" cy="780356"/>
          </a:xfrm>
          <a:prstGeom prst="rect">
            <a:avLst/>
          </a:prstGeom>
        </p:spPr>
      </p:pic>
      <p:cxnSp>
        <p:nvCxnSpPr>
          <p:cNvPr id="72" name="Straight Connector 71">
            <a:extLst>
              <a:ext uri="{FF2B5EF4-FFF2-40B4-BE49-F238E27FC236}">
                <a16:creationId xmlns:a16="http://schemas.microsoft.com/office/drawing/2014/main" id="{3A698BF5-4E8E-4615-B3CF-8531B3BCC57B}"/>
              </a:ext>
            </a:extLst>
          </p:cNvPr>
          <p:cNvCxnSpPr>
            <a:stCxn id="2" idx="5"/>
          </p:cNvCxnSpPr>
          <p:nvPr/>
        </p:nvCxnSpPr>
        <p:spPr>
          <a:xfrm>
            <a:off x="1371839" y="4235720"/>
            <a:ext cx="297158" cy="1813825"/>
          </a:xfrm>
          <a:prstGeom prst="line">
            <a:avLst/>
          </a:prstGeom>
          <a:ln w="28575">
            <a:prstDash val="dash"/>
          </a:ln>
        </p:spPr>
        <p:style>
          <a:lnRef idx="1">
            <a:schemeClr val="accent3"/>
          </a:lnRef>
          <a:fillRef idx="0">
            <a:schemeClr val="accent3"/>
          </a:fillRef>
          <a:effectRef idx="0">
            <a:schemeClr val="accent3"/>
          </a:effectRef>
          <a:fontRef idx="minor">
            <a:schemeClr val="tx1"/>
          </a:fontRef>
        </p:style>
      </p:cxnSp>
      <p:pic>
        <p:nvPicPr>
          <p:cNvPr id="73" name="Picture 72">
            <a:extLst>
              <a:ext uri="{FF2B5EF4-FFF2-40B4-BE49-F238E27FC236}">
                <a16:creationId xmlns:a16="http://schemas.microsoft.com/office/drawing/2014/main" id="{2EC04A32-0018-4279-BE24-01D6AF5C8771}"/>
              </a:ext>
            </a:extLst>
          </p:cNvPr>
          <p:cNvPicPr>
            <a:picLocks noChangeAspect="1"/>
          </p:cNvPicPr>
          <p:nvPr/>
        </p:nvPicPr>
        <p:blipFill>
          <a:blip r:embed="rId11"/>
          <a:stretch>
            <a:fillRect/>
          </a:stretch>
        </p:blipFill>
        <p:spPr>
          <a:xfrm rot="21134484">
            <a:off x="2384696" y="4347248"/>
            <a:ext cx="344362" cy="2019740"/>
          </a:xfrm>
          <a:prstGeom prst="rect">
            <a:avLst/>
          </a:prstGeom>
        </p:spPr>
      </p:pic>
      <p:cxnSp>
        <p:nvCxnSpPr>
          <p:cNvPr id="107" name="Straight Arrow Connector 106">
            <a:extLst>
              <a:ext uri="{FF2B5EF4-FFF2-40B4-BE49-F238E27FC236}">
                <a16:creationId xmlns:a16="http://schemas.microsoft.com/office/drawing/2014/main" id="{34807044-19C0-4AF9-B860-0FE69DF94242}"/>
              </a:ext>
            </a:extLst>
          </p:cNvPr>
          <p:cNvCxnSpPr>
            <a:cxnSpLocks/>
          </p:cNvCxnSpPr>
          <p:nvPr/>
        </p:nvCxnSpPr>
        <p:spPr>
          <a:xfrm flipV="1">
            <a:off x="2249940" y="3599315"/>
            <a:ext cx="937143" cy="253594"/>
          </a:xfrm>
          <a:prstGeom prst="straightConnector1">
            <a:avLst/>
          </a:prstGeom>
          <a:ln w="28575">
            <a:solidFill>
              <a:srgbClr val="C00000"/>
            </a:solidFill>
            <a:prstDash val="dash"/>
            <a:tailEnd type="triangle"/>
          </a:ln>
        </p:spPr>
        <p:style>
          <a:lnRef idx="1">
            <a:schemeClr val="accent3"/>
          </a:lnRef>
          <a:fillRef idx="0">
            <a:schemeClr val="accent3"/>
          </a:fillRef>
          <a:effectRef idx="0">
            <a:schemeClr val="accent3"/>
          </a:effectRef>
          <a:fontRef idx="minor">
            <a:schemeClr val="tx1"/>
          </a:fontRef>
        </p:style>
      </p:cxnSp>
      <p:cxnSp>
        <p:nvCxnSpPr>
          <p:cNvPr id="111" name="Straight Arrow Connector 110">
            <a:extLst>
              <a:ext uri="{FF2B5EF4-FFF2-40B4-BE49-F238E27FC236}">
                <a16:creationId xmlns:a16="http://schemas.microsoft.com/office/drawing/2014/main" id="{F7092805-2468-48E4-93E0-A13FE2302B76}"/>
              </a:ext>
            </a:extLst>
          </p:cNvPr>
          <p:cNvCxnSpPr>
            <a:cxnSpLocks/>
          </p:cNvCxnSpPr>
          <p:nvPr/>
        </p:nvCxnSpPr>
        <p:spPr>
          <a:xfrm flipH="1" flipV="1">
            <a:off x="3737501" y="2423605"/>
            <a:ext cx="2035592" cy="231389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04663361-91B1-4A22-ADF6-0CA5E49608BB}"/>
              </a:ext>
            </a:extLst>
          </p:cNvPr>
          <p:cNvSpPr/>
          <p:nvPr/>
        </p:nvSpPr>
        <p:spPr>
          <a:xfrm>
            <a:off x="3187083" y="2117353"/>
            <a:ext cx="550412" cy="3062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9699060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2769FF-DB25-43E1-AD03-62486412D8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882769FF-DB25-43E1-AD03-62486412D8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Oval 34">
            <a:extLst>
              <a:ext uri="{FF2B5EF4-FFF2-40B4-BE49-F238E27FC236}">
                <a16:creationId xmlns:a16="http://schemas.microsoft.com/office/drawing/2014/main" id="{62EA186F-20AC-4351-AF59-54EEC9C10374}"/>
              </a:ext>
            </a:extLst>
          </p:cNvPr>
          <p:cNvSpPr/>
          <p:nvPr/>
        </p:nvSpPr>
        <p:spPr>
          <a:xfrm>
            <a:off x="4254576" y="1774130"/>
            <a:ext cx="3682848" cy="3614613"/>
          </a:xfrm>
          <a:prstGeom prst="ellipse">
            <a:avLst/>
          </a:prstGeom>
          <a:gradFill flip="none" rotWithShape="1">
            <a:gsLst>
              <a:gs pos="0">
                <a:srgbClr val="2F2F37">
                  <a:alpha val="90000"/>
                </a:srgbClr>
              </a:gs>
              <a:gs pos="94000">
                <a:srgbClr val="1E1E24">
                  <a:alpha val="8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0009F018-5D56-4403-8DB3-9A2F558C74C4}"/>
              </a:ext>
            </a:extLst>
          </p:cNvPr>
          <p:cNvSpPr/>
          <p:nvPr/>
        </p:nvSpPr>
        <p:spPr>
          <a:xfrm>
            <a:off x="472626" y="2223944"/>
            <a:ext cx="3543650" cy="802641"/>
          </a:xfrm>
          <a:prstGeom prst="rect">
            <a:avLst/>
          </a:prstGeom>
        </p:spPr>
        <p:txBody>
          <a:bodyPr wrap="square" lIns="0" tIns="0" rIns="0" bIns="0" anchor="ctr" anchorCtr="0">
            <a:noAutofit/>
          </a:bodyPr>
          <a:lstStyle/>
          <a:p>
            <a:pPr>
              <a:spcBef>
                <a:spcPts val="600"/>
              </a:spcBef>
            </a:pPr>
            <a:r>
              <a:rPr lang="en-US" sz="1400" b="0" i="0" dirty="0">
                <a:solidFill>
                  <a:schemeClr val="tx1">
                    <a:lumMod val="75000"/>
                    <a:lumOff val="25000"/>
                  </a:schemeClr>
                </a:solidFill>
                <a:effectLst/>
                <a:latin typeface="Segoe UI" panose="020B0502040204020203" pitchFamily="34" charset="0"/>
                <a:cs typeface="Segoe UI" panose="020B0502040204020203" pitchFamily="34" charset="0"/>
              </a:rPr>
              <a:t>Places of close human gatherings like receptions, customer help desks, shops, classrooms, doctor’s clinics can be registered as </a:t>
            </a:r>
            <a:r>
              <a:rPr lang="en-US" sz="1400" b="1" i="1" dirty="0">
                <a:solidFill>
                  <a:schemeClr val="tx1">
                    <a:lumMod val="75000"/>
                    <a:lumOff val="25000"/>
                  </a:schemeClr>
                </a:solidFill>
                <a:effectLst/>
                <a:latin typeface="Segoe UI" panose="020B0502040204020203" pitchFamily="34" charset="0"/>
                <a:cs typeface="Segoe UI" panose="020B0502040204020203" pitchFamily="34" charset="0"/>
              </a:rPr>
              <a:t>‘Desk’ </a:t>
            </a:r>
            <a:r>
              <a:rPr lang="en-US" sz="1400" b="0" i="0" dirty="0">
                <a:solidFill>
                  <a:schemeClr val="tx1">
                    <a:lumMod val="75000"/>
                    <a:lumOff val="25000"/>
                  </a:schemeClr>
                </a:solidFill>
                <a:effectLst/>
                <a:latin typeface="Segoe UI" panose="020B0502040204020203" pitchFamily="34" charset="0"/>
                <a:cs typeface="Segoe UI" panose="020B0502040204020203" pitchFamily="34" charset="0"/>
              </a:rPr>
              <a:t>user in the app by the person-in-charge. This desk operator can keep recording attendances for anybody entering this space, in the same way as individual accounts with ‘</a:t>
            </a:r>
            <a:r>
              <a:rPr lang="en-US" sz="1400" b="0" i="1" dirty="0">
                <a:solidFill>
                  <a:schemeClr val="tx1">
                    <a:lumMod val="75000"/>
                    <a:lumOff val="25000"/>
                  </a:schemeClr>
                </a:solidFill>
                <a:effectLst/>
                <a:latin typeface="Segoe UI" panose="020B0502040204020203" pitchFamily="34" charset="0"/>
                <a:cs typeface="Segoe UI" panose="020B0502040204020203" pitchFamily="34" charset="0"/>
              </a:rPr>
              <a:t>Sign-In’</a:t>
            </a:r>
            <a:r>
              <a:rPr lang="en-US" sz="1400" b="0" i="0" dirty="0">
                <a:solidFill>
                  <a:schemeClr val="tx1">
                    <a:lumMod val="75000"/>
                    <a:lumOff val="25000"/>
                  </a:schemeClr>
                </a:solidFill>
                <a:effectLst/>
                <a:latin typeface="Segoe UI" panose="020B0502040204020203" pitchFamily="34" charset="0"/>
                <a:cs typeface="Segoe UI" panose="020B0502040204020203" pitchFamily="34" charset="0"/>
              </a:rPr>
              <a:t> method, and also with BLE and *QR methods.</a:t>
            </a:r>
          </a:p>
        </p:txBody>
      </p:sp>
      <p:sp>
        <p:nvSpPr>
          <p:cNvPr id="61" name="Rectangle 60">
            <a:extLst>
              <a:ext uri="{FF2B5EF4-FFF2-40B4-BE49-F238E27FC236}">
                <a16:creationId xmlns:a16="http://schemas.microsoft.com/office/drawing/2014/main" id="{3CB4D5A7-2527-4D81-A099-29AED8DE3B9A}"/>
              </a:ext>
            </a:extLst>
          </p:cNvPr>
          <p:cNvSpPr/>
          <p:nvPr/>
        </p:nvSpPr>
        <p:spPr>
          <a:xfrm>
            <a:off x="472626" y="4096751"/>
            <a:ext cx="3543650" cy="399492"/>
          </a:xfrm>
          <a:prstGeom prst="rect">
            <a:avLst/>
          </a:prstGeom>
        </p:spPr>
        <p:txBody>
          <a:bodyPr wrap="square" lIns="0" tIns="0" rIns="0" bIns="0" anchor="ctr" anchorCtr="0">
            <a:noAutofit/>
          </a:bodyPr>
          <a:lstStyle/>
          <a:p>
            <a:pPr>
              <a:spcBef>
                <a:spcPts val="600"/>
              </a:spcBef>
            </a:pPr>
            <a:r>
              <a:rPr lang="en-US" sz="1400" b="0" i="0" dirty="0">
                <a:solidFill>
                  <a:schemeClr val="tx1">
                    <a:lumMod val="75000"/>
                    <a:lumOff val="25000"/>
                  </a:schemeClr>
                </a:solidFill>
                <a:effectLst/>
                <a:latin typeface="Segoe UI" panose="020B0502040204020203" pitchFamily="34" charset="0"/>
                <a:cs typeface="Segoe UI" panose="020B0502040204020203" pitchFamily="34" charset="0"/>
              </a:rPr>
              <a:t>This Desk account feature also generates readymade data regarding which places behaved as hotspots, without actually tracking down location of each infectious human-to-human transmission.</a:t>
            </a:r>
          </a:p>
        </p:txBody>
      </p:sp>
      <p:sp>
        <p:nvSpPr>
          <p:cNvPr id="62" name="Rectangle 61">
            <a:extLst>
              <a:ext uri="{FF2B5EF4-FFF2-40B4-BE49-F238E27FC236}">
                <a16:creationId xmlns:a16="http://schemas.microsoft.com/office/drawing/2014/main" id="{70DDA4B1-7F24-4F94-A19E-05A9C7EB3533}"/>
              </a:ext>
            </a:extLst>
          </p:cNvPr>
          <p:cNvSpPr/>
          <p:nvPr/>
        </p:nvSpPr>
        <p:spPr>
          <a:xfrm>
            <a:off x="8176773" y="1550210"/>
            <a:ext cx="3535554" cy="1567313"/>
          </a:xfrm>
          <a:prstGeom prst="rect">
            <a:avLst/>
          </a:prstGeom>
        </p:spPr>
        <p:txBody>
          <a:bodyPr wrap="square" lIns="0" tIns="0" rIns="0" bIns="0" anchor="ctr" anchorCtr="0">
            <a:noAutofit/>
          </a:bodyPr>
          <a:lstStyle/>
          <a:p>
            <a:pPr algn="r">
              <a:spcBef>
                <a:spcPts val="600"/>
              </a:spcBef>
            </a:pPr>
            <a:r>
              <a:rPr lang="en-US" sz="1400" b="0" i="0" dirty="0">
                <a:solidFill>
                  <a:schemeClr val="tx1">
                    <a:lumMod val="75000"/>
                    <a:lumOff val="25000"/>
                  </a:schemeClr>
                </a:solidFill>
                <a:effectLst/>
                <a:latin typeface="Segoe UI" panose="020B0502040204020203" pitchFamily="34" charset="0"/>
                <a:cs typeface="Segoe UI" panose="020B0502040204020203" pitchFamily="34" charset="0"/>
              </a:rPr>
              <a:t>People will be more comfortable giving out phone numbers while entering a shop or office rather than giving the number to an individual. It is also easier to implement a compulsory registration with Lazarus when entering these places just like how masks are mandatory for entry. Also most places already have a system of recording contact details during entry.</a:t>
            </a:r>
          </a:p>
        </p:txBody>
      </p:sp>
      <p:sp>
        <p:nvSpPr>
          <p:cNvPr id="63" name="Rectangle 62">
            <a:extLst>
              <a:ext uri="{FF2B5EF4-FFF2-40B4-BE49-F238E27FC236}">
                <a16:creationId xmlns:a16="http://schemas.microsoft.com/office/drawing/2014/main" id="{E31AD305-0FFF-4385-9368-5600A3234B38}"/>
              </a:ext>
            </a:extLst>
          </p:cNvPr>
          <p:cNvSpPr/>
          <p:nvPr/>
        </p:nvSpPr>
        <p:spPr>
          <a:xfrm>
            <a:off x="8249517" y="3954648"/>
            <a:ext cx="3535555" cy="1311760"/>
          </a:xfrm>
          <a:prstGeom prst="rect">
            <a:avLst/>
          </a:prstGeom>
        </p:spPr>
        <p:txBody>
          <a:bodyPr wrap="square" lIns="0" tIns="0" rIns="0" bIns="0" anchor="ctr" anchorCtr="0">
            <a:noAutofit/>
          </a:bodyPr>
          <a:lstStyle/>
          <a:p>
            <a:pPr algn="r">
              <a:spcBef>
                <a:spcPts val="600"/>
              </a:spcBef>
            </a:pPr>
            <a:r>
              <a:rPr lang="en-US" sz="1400" dirty="0">
                <a:solidFill>
                  <a:schemeClr val="tx1">
                    <a:lumMod val="75000"/>
                    <a:lumOff val="25000"/>
                  </a:schemeClr>
                </a:solidFill>
                <a:latin typeface="Segoe UI" panose="020B0502040204020203" pitchFamily="34" charset="0"/>
                <a:cs typeface="Segoe UI" panose="020B0502040204020203" pitchFamily="34" charset="0"/>
              </a:rPr>
              <a:t>People who have not registered with Lazarus will be registered on-spot, due to the same </a:t>
            </a:r>
            <a:r>
              <a:rPr lang="en-US" sz="1400" i="1" dirty="0">
                <a:solidFill>
                  <a:schemeClr val="tx1">
                    <a:lumMod val="75000"/>
                    <a:lumOff val="25000"/>
                  </a:schemeClr>
                </a:solidFill>
                <a:latin typeface="Segoe UI" panose="020B0502040204020203" pitchFamily="34" charset="0"/>
                <a:cs typeface="Segoe UI" panose="020B0502040204020203" pitchFamily="34" charset="0"/>
              </a:rPr>
              <a:t>‘Sign-In’ </a:t>
            </a:r>
            <a:r>
              <a:rPr lang="en-US" sz="1400" dirty="0">
                <a:solidFill>
                  <a:schemeClr val="tx1">
                    <a:lumMod val="75000"/>
                    <a:lumOff val="25000"/>
                  </a:schemeClr>
                </a:solidFill>
                <a:latin typeface="Segoe UI" panose="020B0502040204020203" pitchFamily="34" charset="0"/>
                <a:cs typeface="Segoe UI" panose="020B0502040204020203" pitchFamily="34" charset="0"/>
              </a:rPr>
              <a:t>feature, just by giving their phone numbers like regular users, while their contact data will be stored in cloud temporarily. Whenever they do open their account on app, the account will sync with this cloud data. And even if they never open their account, they can always be contacted, if their codes match with an infected individual or with a hotspot ‘Desk’ account. </a:t>
            </a:r>
            <a:endParaRPr lang="en-US" sz="1400" b="0" i="0" dirty="0">
              <a:solidFill>
                <a:schemeClr val="tx1">
                  <a:lumMod val="75000"/>
                  <a:lumOff val="25000"/>
                </a:schemeClr>
              </a:solidFill>
              <a:effectLst/>
              <a:latin typeface="Segoe UI" panose="020B0502040204020203" pitchFamily="34" charset="0"/>
              <a:cs typeface="Segoe UI" panose="020B0502040204020203" pitchFamily="34" charset="0"/>
            </a:endParaRPr>
          </a:p>
        </p:txBody>
      </p:sp>
      <p:cxnSp>
        <p:nvCxnSpPr>
          <p:cNvPr id="65" name="Straight Connector 64">
            <a:extLst>
              <a:ext uri="{FF2B5EF4-FFF2-40B4-BE49-F238E27FC236}">
                <a16:creationId xmlns:a16="http://schemas.microsoft.com/office/drawing/2014/main" id="{786392C1-510A-467B-865C-E843DF362A7C}"/>
              </a:ext>
            </a:extLst>
          </p:cNvPr>
          <p:cNvCxnSpPr>
            <a:cxnSpLocks/>
          </p:cNvCxnSpPr>
          <p:nvPr/>
        </p:nvCxnSpPr>
        <p:spPr>
          <a:xfrm>
            <a:off x="600846" y="3629040"/>
            <a:ext cx="3287210"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F71ADC0-FE61-4610-9025-F3A0E21F5246}"/>
              </a:ext>
            </a:extLst>
          </p:cNvPr>
          <p:cNvCxnSpPr>
            <a:cxnSpLocks/>
          </p:cNvCxnSpPr>
          <p:nvPr/>
        </p:nvCxnSpPr>
        <p:spPr>
          <a:xfrm>
            <a:off x="8249517" y="3340224"/>
            <a:ext cx="3287210"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68" name="Rectangle: Rounded Corners 67">
            <a:extLst>
              <a:ext uri="{FF2B5EF4-FFF2-40B4-BE49-F238E27FC236}">
                <a16:creationId xmlns:a16="http://schemas.microsoft.com/office/drawing/2014/main" id="{EF3324FE-93BC-4F90-A49A-60FD7DAE4487}"/>
              </a:ext>
            </a:extLst>
          </p:cNvPr>
          <p:cNvSpPr/>
          <p:nvPr/>
        </p:nvSpPr>
        <p:spPr>
          <a:xfrm>
            <a:off x="354318" y="5895062"/>
            <a:ext cx="11397934" cy="751312"/>
          </a:xfrm>
          <a:prstGeom prst="roundRect">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dirty="0">
                <a:solidFill>
                  <a:schemeClr val="tx1">
                    <a:lumMod val="75000"/>
                    <a:lumOff val="25000"/>
                  </a:schemeClr>
                </a:solidFill>
                <a:effectLst/>
                <a:latin typeface="Segoe UI" panose="020B0502040204020203" pitchFamily="34" charset="0"/>
                <a:cs typeface="Segoe UI" panose="020B0502040204020203" pitchFamily="34" charset="0"/>
              </a:rPr>
              <a:t>Thus, </a:t>
            </a:r>
            <a:r>
              <a:rPr lang="en-US" sz="1600" i="1" dirty="0">
                <a:solidFill>
                  <a:schemeClr val="tx1">
                    <a:lumMod val="75000"/>
                    <a:lumOff val="25000"/>
                  </a:schemeClr>
                </a:solidFill>
                <a:effectLst/>
                <a:latin typeface="Segoe UI" panose="020B0502040204020203" pitchFamily="34" charset="0"/>
                <a:cs typeface="Segoe UI" panose="020B0502040204020203" pitchFamily="34" charset="0"/>
              </a:rPr>
              <a:t>‘Desk’ </a:t>
            </a:r>
            <a:r>
              <a:rPr lang="en-US" sz="1600" dirty="0">
                <a:solidFill>
                  <a:schemeClr val="tx1">
                    <a:lumMod val="75000"/>
                    <a:lumOff val="25000"/>
                  </a:schemeClr>
                </a:solidFill>
                <a:effectLst/>
                <a:latin typeface="Segoe UI" panose="020B0502040204020203" pitchFamily="34" charset="0"/>
                <a:cs typeface="Segoe UI" panose="020B0502040204020203" pitchFamily="34" charset="0"/>
              </a:rPr>
              <a:t>account exponentially increases user-base of Lazarus. Furthermore, Lazarus extends the same forgery-free, server-independent and simple logic (using timestamped codes) across all the modes of contact tracing (BLE, Sign-In, *QR). And since the timestamps are in UTC, the contact tracing is applicable across time zones, beyond international borders.</a:t>
            </a:r>
          </a:p>
        </p:txBody>
      </p:sp>
      <p:sp>
        <p:nvSpPr>
          <p:cNvPr id="88" name="TextBox 87">
            <a:extLst>
              <a:ext uri="{FF2B5EF4-FFF2-40B4-BE49-F238E27FC236}">
                <a16:creationId xmlns:a16="http://schemas.microsoft.com/office/drawing/2014/main" id="{F0AB6FDD-03E4-4BF0-8881-572E6115A107}"/>
              </a:ext>
            </a:extLst>
          </p:cNvPr>
          <p:cNvSpPr txBox="1"/>
          <p:nvPr/>
        </p:nvSpPr>
        <p:spPr>
          <a:xfrm>
            <a:off x="354173" y="181474"/>
            <a:ext cx="7672304" cy="1446550"/>
          </a:xfrm>
          <a:prstGeom prst="rect">
            <a:avLst/>
          </a:prstGeom>
          <a:noFill/>
        </p:spPr>
        <p:txBody>
          <a:bodyPr wrap="square">
            <a:spAutoFit/>
          </a:bodyPr>
          <a:lstStyle/>
          <a:p>
            <a:r>
              <a:rPr lang="en-US" sz="2200" dirty="0"/>
              <a:t>But people don’t even use BLE scanning properly, why will they go around exchanging phone numbers for contact tracing? It doesn’t feel safe even. And what if both people are not carrying smartphones?</a:t>
            </a:r>
          </a:p>
        </p:txBody>
      </p:sp>
      <p:sp>
        <p:nvSpPr>
          <p:cNvPr id="90" name="Title 3">
            <a:extLst>
              <a:ext uri="{FF2B5EF4-FFF2-40B4-BE49-F238E27FC236}">
                <a16:creationId xmlns:a16="http://schemas.microsoft.com/office/drawing/2014/main" id="{782081C3-EA74-4E7D-8F4D-26C5F50D4F03}"/>
              </a:ext>
            </a:extLst>
          </p:cNvPr>
          <p:cNvSpPr txBox="1">
            <a:spLocks/>
          </p:cNvSpPr>
          <p:nvPr/>
        </p:nvSpPr>
        <p:spPr>
          <a:xfrm>
            <a:off x="8215024" y="396005"/>
            <a:ext cx="3202866" cy="32839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dirty="0">
                <a:latin typeface="Segoe UI" panose="020B0502040204020203" pitchFamily="34" charset="0"/>
                <a:cs typeface="Segoe UI" panose="020B0502040204020203" pitchFamily="34" charset="0"/>
              </a:rPr>
              <a:t>Solution: </a:t>
            </a:r>
            <a:r>
              <a:rPr lang="en-US" sz="2400" i="1" dirty="0">
                <a:latin typeface="Segoe UI" panose="020B0502040204020203" pitchFamily="34" charset="0"/>
                <a:cs typeface="Segoe UI" panose="020B0502040204020203" pitchFamily="34" charset="0"/>
              </a:rPr>
              <a:t>‘Desk’ </a:t>
            </a:r>
            <a:r>
              <a:rPr lang="en-US" sz="2400" dirty="0">
                <a:latin typeface="Segoe UI" panose="020B0502040204020203" pitchFamily="34" charset="0"/>
                <a:cs typeface="Segoe UI" panose="020B0502040204020203" pitchFamily="34" charset="0"/>
              </a:rPr>
              <a:t>account</a:t>
            </a:r>
            <a:endParaRPr kumimoji="0" lang="en-US" sz="2400" b="0" i="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endParaRPr>
          </a:p>
        </p:txBody>
      </p:sp>
      <p:grpSp>
        <p:nvGrpSpPr>
          <p:cNvPr id="94" name="Group 93">
            <a:extLst>
              <a:ext uri="{FF2B5EF4-FFF2-40B4-BE49-F238E27FC236}">
                <a16:creationId xmlns:a16="http://schemas.microsoft.com/office/drawing/2014/main" id="{F8A9285E-6E36-4FDE-9CF2-A63533FF67FF}"/>
              </a:ext>
            </a:extLst>
          </p:cNvPr>
          <p:cNvGrpSpPr/>
          <p:nvPr/>
        </p:nvGrpSpPr>
        <p:grpSpPr>
          <a:xfrm>
            <a:off x="5507904" y="1327514"/>
            <a:ext cx="3024451" cy="4298330"/>
            <a:chOff x="2929841" y="3738956"/>
            <a:chExt cx="3926164" cy="5619392"/>
          </a:xfrm>
        </p:grpSpPr>
        <p:pic>
          <p:nvPicPr>
            <p:cNvPr id="95" name="Picture 94">
              <a:extLst>
                <a:ext uri="{FF2B5EF4-FFF2-40B4-BE49-F238E27FC236}">
                  <a16:creationId xmlns:a16="http://schemas.microsoft.com/office/drawing/2014/main" id="{F716CD33-D55F-470E-88C6-340518FE572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637823" y="3893073"/>
              <a:ext cx="2561481" cy="5122962"/>
            </a:xfrm>
            <a:prstGeom prst="roundRect">
              <a:avLst>
                <a:gd name="adj" fmla="val 8562"/>
              </a:avLst>
            </a:prstGeom>
            <a:ln>
              <a:noFill/>
            </a:ln>
          </p:spPr>
        </p:pic>
        <p:pic>
          <p:nvPicPr>
            <p:cNvPr id="96" name="Picture 95">
              <a:extLst>
                <a:ext uri="{FF2B5EF4-FFF2-40B4-BE49-F238E27FC236}">
                  <a16:creationId xmlns:a16="http://schemas.microsoft.com/office/drawing/2014/main" id="{F42DBC74-FAB4-4FA3-9BE0-091C582834AD}"/>
                </a:ext>
              </a:extLst>
            </p:cNvPr>
            <p:cNvPicPr>
              <a:picLocks noChangeAspect="1"/>
            </p:cNvPicPr>
            <p:nvPr/>
          </p:nvPicPr>
          <p:blipFill>
            <a:blip r:embed="rId7"/>
            <a:stretch>
              <a:fillRect/>
            </a:stretch>
          </p:blipFill>
          <p:spPr>
            <a:xfrm>
              <a:off x="2929841" y="3738956"/>
              <a:ext cx="3926164" cy="5619392"/>
            </a:xfrm>
            <a:prstGeom prst="rect">
              <a:avLst/>
            </a:prstGeom>
            <a:blipFill>
              <a:blip r:embed="rId8"/>
              <a:stretch>
                <a:fillRect/>
              </a:stretch>
            </a:blipFill>
          </p:spPr>
        </p:pic>
      </p:grpSp>
      <p:grpSp>
        <p:nvGrpSpPr>
          <p:cNvPr id="97" name="Group 96">
            <a:extLst>
              <a:ext uri="{FF2B5EF4-FFF2-40B4-BE49-F238E27FC236}">
                <a16:creationId xmlns:a16="http://schemas.microsoft.com/office/drawing/2014/main" id="{C26E56E0-E416-4D20-A183-D8D6B9BBDF52}"/>
              </a:ext>
            </a:extLst>
          </p:cNvPr>
          <p:cNvGrpSpPr/>
          <p:nvPr/>
        </p:nvGrpSpPr>
        <p:grpSpPr>
          <a:xfrm>
            <a:off x="3583622" y="1327509"/>
            <a:ext cx="3024451" cy="4298335"/>
            <a:chOff x="2973062" y="3738956"/>
            <a:chExt cx="3926164" cy="5619392"/>
          </a:xfrm>
        </p:grpSpPr>
        <p:pic>
          <p:nvPicPr>
            <p:cNvPr id="98" name="Picture 97">
              <a:extLst>
                <a:ext uri="{FF2B5EF4-FFF2-40B4-BE49-F238E27FC236}">
                  <a16:creationId xmlns:a16="http://schemas.microsoft.com/office/drawing/2014/main" id="{957F8722-39D6-4875-A6D3-E52861FF1D59}"/>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637823" y="3893073"/>
              <a:ext cx="2561481" cy="5122962"/>
            </a:xfrm>
            <a:prstGeom prst="roundRect">
              <a:avLst>
                <a:gd name="adj" fmla="val 8562"/>
              </a:avLst>
            </a:prstGeom>
            <a:ln>
              <a:noFill/>
            </a:ln>
          </p:spPr>
        </p:pic>
        <p:pic>
          <p:nvPicPr>
            <p:cNvPr id="99" name="Picture 98">
              <a:extLst>
                <a:ext uri="{FF2B5EF4-FFF2-40B4-BE49-F238E27FC236}">
                  <a16:creationId xmlns:a16="http://schemas.microsoft.com/office/drawing/2014/main" id="{74CEC848-A51D-4130-B853-7F16902D2009}"/>
                </a:ext>
              </a:extLst>
            </p:cNvPr>
            <p:cNvPicPr>
              <a:picLocks noChangeAspect="1"/>
            </p:cNvPicPr>
            <p:nvPr/>
          </p:nvPicPr>
          <p:blipFill>
            <a:blip r:embed="rId7"/>
            <a:stretch>
              <a:fillRect/>
            </a:stretch>
          </p:blipFill>
          <p:spPr>
            <a:xfrm>
              <a:off x="2973062" y="3738956"/>
              <a:ext cx="3926164" cy="5619392"/>
            </a:xfrm>
            <a:prstGeom prst="rect">
              <a:avLst/>
            </a:prstGeom>
            <a:blipFill>
              <a:blip r:embed="rId8"/>
              <a:stretch>
                <a:fillRect/>
              </a:stretch>
            </a:blipFill>
          </p:spPr>
        </p:pic>
      </p:grpSp>
      <p:sp>
        <p:nvSpPr>
          <p:cNvPr id="21" name="TextBox 20">
            <a:extLst>
              <a:ext uri="{FF2B5EF4-FFF2-40B4-BE49-F238E27FC236}">
                <a16:creationId xmlns:a16="http://schemas.microsoft.com/office/drawing/2014/main" id="{30332E49-34E8-4568-80A2-3836D406476F}"/>
              </a:ext>
            </a:extLst>
          </p:cNvPr>
          <p:cNvSpPr txBox="1"/>
          <p:nvPr/>
        </p:nvSpPr>
        <p:spPr>
          <a:xfrm>
            <a:off x="354173" y="5027860"/>
            <a:ext cx="3140396" cy="830997"/>
          </a:xfrm>
          <a:prstGeom prst="rect">
            <a:avLst/>
          </a:prstGeom>
          <a:noFill/>
          <a:ln w="12700">
            <a:solidFill>
              <a:schemeClr val="tx1"/>
            </a:solidFill>
            <a:prstDash val="dash"/>
          </a:ln>
        </p:spPr>
        <p:txBody>
          <a:bodyPr wrap="square" rtlCol="0">
            <a:spAutoFit/>
          </a:bodyPr>
          <a:lstStyle/>
          <a:p>
            <a:r>
              <a:rPr lang="en-US" sz="1200" dirty="0"/>
              <a:t>* </a:t>
            </a:r>
            <a:r>
              <a:rPr lang="en-US" sz="1200" b="1" i="1" dirty="0"/>
              <a:t>‘Scan QR’ </a:t>
            </a:r>
            <a:r>
              <a:rPr lang="en-US" sz="1200" dirty="0"/>
              <a:t>and </a:t>
            </a:r>
            <a:r>
              <a:rPr lang="en-US" sz="1200" b="1" i="1" dirty="0"/>
              <a:t>‘Show QR’ </a:t>
            </a:r>
            <a:r>
              <a:rPr lang="en-US" sz="1200" dirty="0"/>
              <a:t>is also an alternative way of exchanging contact tracing codes by QR, available for both individuals and ‘Desks’. </a:t>
            </a:r>
            <a:endParaRPr lang="en-IN" sz="1200" dirty="0"/>
          </a:p>
        </p:txBody>
      </p:sp>
      <p:cxnSp>
        <p:nvCxnSpPr>
          <p:cNvPr id="20" name="Straight Connector 19">
            <a:extLst>
              <a:ext uri="{FF2B5EF4-FFF2-40B4-BE49-F238E27FC236}">
                <a16:creationId xmlns:a16="http://schemas.microsoft.com/office/drawing/2014/main" id="{05CFAE38-6C7C-42C3-A06E-0CAB3383A028}"/>
              </a:ext>
            </a:extLst>
          </p:cNvPr>
          <p:cNvCxnSpPr>
            <a:cxnSpLocks/>
          </p:cNvCxnSpPr>
          <p:nvPr/>
        </p:nvCxnSpPr>
        <p:spPr>
          <a:xfrm>
            <a:off x="600846" y="1600943"/>
            <a:ext cx="3287210"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7D9F903-1116-4451-9684-E9D528262E63}"/>
              </a:ext>
            </a:extLst>
          </p:cNvPr>
          <p:cNvCxnSpPr>
            <a:cxnSpLocks/>
          </p:cNvCxnSpPr>
          <p:nvPr/>
        </p:nvCxnSpPr>
        <p:spPr>
          <a:xfrm>
            <a:off x="8215024" y="1327509"/>
            <a:ext cx="3287210"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4183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F835E444-F82B-4DE3-B53E-5D51EFC0CF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8" name="Object 57" hidden="1">
                        <a:extLst>
                          <a:ext uri="{FF2B5EF4-FFF2-40B4-BE49-F238E27FC236}">
                            <a16:creationId xmlns:a16="http://schemas.microsoft.com/office/drawing/2014/main" id="{F835E444-F82B-4DE3-B53E-5D51EFC0CF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A0A02496-88EA-4B41-9E5D-338FC62291EF}"/>
              </a:ext>
            </a:extLst>
          </p:cNvPr>
          <p:cNvSpPr/>
          <p:nvPr/>
        </p:nvSpPr>
        <p:spPr>
          <a:xfrm>
            <a:off x="1" y="1"/>
            <a:ext cx="12192000" cy="1420426"/>
          </a:xfrm>
          <a:prstGeom prst="rect">
            <a:avLst/>
          </a:prstGeom>
          <a:gradFill flip="none" rotWithShape="1">
            <a:gsLst>
              <a:gs pos="0">
                <a:srgbClr val="2F2F37">
                  <a:alpha val="90000"/>
                </a:srgbClr>
              </a:gs>
              <a:gs pos="94000">
                <a:srgbClr val="1E1E24">
                  <a:alpha val="8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Title 3">
            <a:extLst>
              <a:ext uri="{FF2B5EF4-FFF2-40B4-BE49-F238E27FC236}">
                <a16:creationId xmlns:a16="http://schemas.microsoft.com/office/drawing/2014/main" id="{EB2D913B-6EEF-4B66-9A3E-17021769FBAE}"/>
              </a:ext>
            </a:extLst>
          </p:cNvPr>
          <p:cNvSpPr txBox="1">
            <a:spLocks/>
          </p:cNvSpPr>
          <p:nvPr/>
        </p:nvSpPr>
        <p:spPr>
          <a:xfrm>
            <a:off x="5693439" y="430153"/>
            <a:ext cx="5870530" cy="122561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da-DK" sz="4400" b="0" i="0" u="none" strike="noStrike" kern="1200" cap="none" spc="0" normalizeH="0" baseline="0" noProof="0" dirty="0">
                <a:ln>
                  <a:noFill/>
                </a:ln>
                <a:solidFill>
                  <a:prstClr val="white"/>
                </a:solidFill>
                <a:effectLst/>
                <a:uLnTx/>
                <a:uFillTx/>
                <a:latin typeface="Segoe UI" panose="020B0502040204020203" pitchFamily="34" charset="0"/>
                <a:ea typeface="+mj-ea"/>
                <a:cs typeface="Segoe UI" panose="020B0502040204020203" pitchFamily="34" charset="0"/>
              </a:rPr>
              <a:t>Diary Keeping</a:t>
            </a:r>
            <a:endParaRPr kumimoji="0" lang="en-US" sz="4400" b="0" i="0" u="none" strike="noStrike" kern="1200" cap="none" spc="0" normalizeH="0" baseline="0" noProof="0" dirty="0">
              <a:ln>
                <a:noFill/>
              </a:ln>
              <a:solidFill>
                <a:prstClr val="white"/>
              </a:solidFill>
              <a:effectLst/>
              <a:uLnTx/>
              <a:uFillTx/>
              <a:latin typeface="Segoe UI" panose="020B0502040204020203" pitchFamily="34" charset="0"/>
              <a:ea typeface="+mj-ea"/>
              <a:cs typeface="Segoe UI" panose="020B0502040204020203" pitchFamily="34" charset="0"/>
            </a:endParaRPr>
          </a:p>
        </p:txBody>
      </p:sp>
      <p:sp>
        <p:nvSpPr>
          <p:cNvPr id="85" name="Rectangle 84">
            <a:extLst>
              <a:ext uri="{FF2B5EF4-FFF2-40B4-BE49-F238E27FC236}">
                <a16:creationId xmlns:a16="http://schemas.microsoft.com/office/drawing/2014/main" id="{E47E059F-2215-4579-9F28-6801D34F6BFC}"/>
              </a:ext>
            </a:extLst>
          </p:cNvPr>
          <p:cNvSpPr/>
          <p:nvPr/>
        </p:nvSpPr>
        <p:spPr>
          <a:xfrm>
            <a:off x="5693439" y="4287436"/>
            <a:ext cx="6243514" cy="844622"/>
          </a:xfrm>
          <a:prstGeom prst="rect">
            <a:avLst/>
          </a:prstGeom>
        </p:spPr>
        <p:txBody>
          <a:bodyPr wrap="square" lIns="0" tIns="0" rIns="0" bIns="0" anchor="t" anchorCtr="0">
            <a:noAutofit/>
          </a:bodyPr>
          <a:lstStyle/>
          <a:p>
            <a:pPr marL="285750" marR="0" lvl="0" indent="-285750" algn="just" defTabSz="914400" rtl="0" eaLnBrk="1" fontAlgn="auto" latinLnBrk="0" hangingPunct="1">
              <a:lnSpc>
                <a:spcPct val="100000"/>
              </a:lnSpc>
              <a:spcBef>
                <a:spcPts val="600"/>
              </a:spcBef>
              <a:spcAft>
                <a:spcPts val="0"/>
              </a:spcAft>
              <a:buClr>
                <a:srgbClr val="4757B8"/>
              </a:buClr>
              <a:buSzTx/>
              <a:buFont typeface="Arial" panose="020B0604020202020204" pitchFamily="34" charset="0"/>
              <a:buChar char="•"/>
              <a:tabLst/>
              <a:defRPr/>
            </a:pPr>
            <a:r>
              <a:rPr lang="en-US" sz="1300" dirty="0">
                <a:solidFill>
                  <a:schemeClr val="tx1">
                    <a:lumMod val="75000"/>
                    <a:lumOff val="25000"/>
                  </a:schemeClr>
                </a:solidFill>
                <a:latin typeface="Segoe UI" panose="020B0502040204020203" pitchFamily="34" charset="0"/>
                <a:cs typeface="Segoe UI" panose="020B0502040204020203" pitchFamily="34" charset="0"/>
              </a:rPr>
              <a:t>In a production level app, users will be able to edit their logs like a complete diary and can also use voice to record logs in audio format or use speech-to-text.</a:t>
            </a:r>
          </a:p>
          <a:p>
            <a:pPr marL="285750" marR="0" lvl="0" indent="-285750" algn="just" defTabSz="914400" rtl="0" eaLnBrk="1" fontAlgn="auto" latinLnBrk="0" hangingPunct="1">
              <a:lnSpc>
                <a:spcPct val="100000"/>
              </a:lnSpc>
              <a:spcBef>
                <a:spcPts val="600"/>
              </a:spcBef>
              <a:spcAft>
                <a:spcPts val="0"/>
              </a:spcAft>
              <a:buClr>
                <a:srgbClr val="4757B8"/>
              </a:buClr>
              <a:buSzTx/>
              <a:buFont typeface="Arial" panose="020B0604020202020204" pitchFamily="34" charset="0"/>
              <a:buChar char="•"/>
              <a:tabLst/>
              <a:defRPr/>
            </a:pPr>
            <a:r>
              <a:rPr kumimoji="0" lang="en-US" sz="130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We propose a social media platform on this app where users get medical advice from doctors who are app users. The Azure LUIS NLP service can have added parameters to assess the diary records </a:t>
            </a:r>
            <a:r>
              <a:rPr lang="en-US" sz="1300" dirty="0">
                <a:solidFill>
                  <a:schemeClr val="tx1">
                    <a:lumMod val="75000"/>
                    <a:lumOff val="25000"/>
                  </a:schemeClr>
                </a:solidFill>
                <a:latin typeface="Segoe UI" panose="020B0502040204020203" pitchFamily="34" charset="0"/>
                <a:cs typeface="Segoe UI" panose="020B0502040204020203" pitchFamily="34" charset="0"/>
              </a:rPr>
              <a:t>and</a:t>
            </a:r>
            <a:r>
              <a:rPr kumimoji="0" lang="en-US" sz="130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 grade the mental and physical health of user. The app will then post the suspicious health condition anonymously and medical practitioners can offer suggestions, which will show up in user’s feed</a:t>
            </a:r>
            <a:r>
              <a:rPr lang="en-US" sz="1300" dirty="0">
                <a:solidFill>
                  <a:schemeClr val="tx1">
                    <a:lumMod val="75000"/>
                    <a:lumOff val="25000"/>
                  </a:schemeClr>
                </a:solidFill>
                <a:latin typeface="Segoe UI" panose="020B0502040204020203" pitchFamily="34" charset="0"/>
                <a:cs typeface="Segoe UI" panose="020B0502040204020203" pitchFamily="34" charset="0"/>
              </a:rPr>
              <a:t>.</a:t>
            </a:r>
            <a:r>
              <a:rPr kumimoji="0" lang="en-US" sz="130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cs typeface="Segoe UI" panose="020B0502040204020203" pitchFamily="34" charset="0"/>
              </a:rPr>
              <a:t>  </a:t>
            </a:r>
          </a:p>
        </p:txBody>
      </p:sp>
      <p:grpSp>
        <p:nvGrpSpPr>
          <p:cNvPr id="97" name="Group 96">
            <a:extLst>
              <a:ext uri="{FF2B5EF4-FFF2-40B4-BE49-F238E27FC236}">
                <a16:creationId xmlns:a16="http://schemas.microsoft.com/office/drawing/2014/main" id="{5BD2FEC7-A3D8-4698-A70B-AD4EFBFCE5EF}"/>
              </a:ext>
            </a:extLst>
          </p:cNvPr>
          <p:cNvGrpSpPr/>
          <p:nvPr/>
        </p:nvGrpSpPr>
        <p:grpSpPr>
          <a:xfrm>
            <a:off x="-294085" y="208655"/>
            <a:ext cx="3854031" cy="5446421"/>
            <a:chOff x="2955481" y="3738956"/>
            <a:chExt cx="3926164" cy="5619392"/>
          </a:xfrm>
        </p:grpSpPr>
        <p:pic>
          <p:nvPicPr>
            <p:cNvPr id="99" name="Picture 98">
              <a:extLst>
                <a:ext uri="{FF2B5EF4-FFF2-40B4-BE49-F238E27FC236}">
                  <a16:creationId xmlns:a16="http://schemas.microsoft.com/office/drawing/2014/main" id="{FA115855-A4EC-42FB-9FF1-0A0042154A3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637823" y="3893073"/>
              <a:ext cx="2561481" cy="5122962"/>
            </a:xfrm>
            <a:prstGeom prst="roundRect">
              <a:avLst>
                <a:gd name="adj" fmla="val 8562"/>
              </a:avLst>
            </a:prstGeom>
            <a:ln>
              <a:noFill/>
            </a:ln>
          </p:spPr>
        </p:pic>
        <p:pic>
          <p:nvPicPr>
            <p:cNvPr id="100" name="Picture 99">
              <a:extLst>
                <a:ext uri="{FF2B5EF4-FFF2-40B4-BE49-F238E27FC236}">
                  <a16:creationId xmlns:a16="http://schemas.microsoft.com/office/drawing/2014/main" id="{BE81ABE5-EB2F-4422-908A-F2A05A661894}"/>
                </a:ext>
              </a:extLst>
            </p:cNvPr>
            <p:cNvPicPr>
              <a:picLocks noChangeAspect="1"/>
            </p:cNvPicPr>
            <p:nvPr/>
          </p:nvPicPr>
          <p:blipFill>
            <a:blip r:embed="rId7"/>
            <a:stretch>
              <a:fillRect/>
            </a:stretch>
          </p:blipFill>
          <p:spPr>
            <a:xfrm>
              <a:off x="2955481" y="3738956"/>
              <a:ext cx="3926164" cy="5619392"/>
            </a:xfrm>
            <a:prstGeom prst="rect">
              <a:avLst/>
            </a:prstGeom>
            <a:blipFill>
              <a:blip r:embed="rId8"/>
              <a:stretch>
                <a:fillRect/>
              </a:stretch>
            </a:blipFill>
          </p:spPr>
        </p:pic>
      </p:grpSp>
      <p:grpSp>
        <p:nvGrpSpPr>
          <p:cNvPr id="102" name="Group 101">
            <a:extLst>
              <a:ext uri="{FF2B5EF4-FFF2-40B4-BE49-F238E27FC236}">
                <a16:creationId xmlns:a16="http://schemas.microsoft.com/office/drawing/2014/main" id="{0983DB6B-67BB-4169-BF44-BA174154160E}"/>
              </a:ext>
            </a:extLst>
          </p:cNvPr>
          <p:cNvGrpSpPr/>
          <p:nvPr/>
        </p:nvGrpSpPr>
        <p:grpSpPr>
          <a:xfrm>
            <a:off x="2010168" y="208655"/>
            <a:ext cx="3854031" cy="5446421"/>
            <a:chOff x="2917215" y="3738956"/>
            <a:chExt cx="3926164" cy="5619392"/>
          </a:xfrm>
        </p:grpSpPr>
        <p:pic>
          <p:nvPicPr>
            <p:cNvPr id="103" name="Picture 102">
              <a:extLst>
                <a:ext uri="{FF2B5EF4-FFF2-40B4-BE49-F238E27FC236}">
                  <a16:creationId xmlns:a16="http://schemas.microsoft.com/office/drawing/2014/main" id="{DD0B06E2-84C7-4C57-AE2B-E8326ECA8DDD}"/>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637823" y="3893073"/>
              <a:ext cx="2561481" cy="5122962"/>
            </a:xfrm>
            <a:prstGeom prst="roundRect">
              <a:avLst>
                <a:gd name="adj" fmla="val 8562"/>
              </a:avLst>
            </a:prstGeom>
            <a:ln>
              <a:noFill/>
            </a:ln>
          </p:spPr>
        </p:pic>
        <p:pic>
          <p:nvPicPr>
            <p:cNvPr id="104" name="Picture 103">
              <a:extLst>
                <a:ext uri="{FF2B5EF4-FFF2-40B4-BE49-F238E27FC236}">
                  <a16:creationId xmlns:a16="http://schemas.microsoft.com/office/drawing/2014/main" id="{F75EE778-1C95-4817-85C5-9EB7354EE0DC}"/>
                </a:ext>
              </a:extLst>
            </p:cNvPr>
            <p:cNvPicPr>
              <a:picLocks noChangeAspect="1"/>
            </p:cNvPicPr>
            <p:nvPr/>
          </p:nvPicPr>
          <p:blipFill>
            <a:blip r:embed="rId7"/>
            <a:stretch>
              <a:fillRect/>
            </a:stretch>
          </p:blipFill>
          <p:spPr>
            <a:xfrm>
              <a:off x="2917215" y="3738956"/>
              <a:ext cx="3926164" cy="5619392"/>
            </a:xfrm>
            <a:prstGeom prst="rect">
              <a:avLst/>
            </a:prstGeom>
            <a:blipFill>
              <a:blip r:embed="rId8"/>
              <a:stretch>
                <a:fillRect/>
              </a:stretch>
            </a:blipFill>
          </p:spPr>
        </p:pic>
      </p:grpSp>
      <p:pic>
        <p:nvPicPr>
          <p:cNvPr id="3" name="Picture 2">
            <a:extLst>
              <a:ext uri="{FF2B5EF4-FFF2-40B4-BE49-F238E27FC236}">
                <a16:creationId xmlns:a16="http://schemas.microsoft.com/office/drawing/2014/main" id="{A19109B1-91F6-4752-A144-DCDCE4281897}"/>
              </a:ext>
            </a:extLst>
          </p:cNvPr>
          <p:cNvPicPr>
            <a:picLocks noChangeAspect="1"/>
          </p:cNvPicPr>
          <p:nvPr/>
        </p:nvPicPr>
        <p:blipFill>
          <a:blip r:embed="rId10"/>
          <a:stretch>
            <a:fillRect/>
          </a:stretch>
        </p:blipFill>
        <p:spPr>
          <a:xfrm>
            <a:off x="646889" y="1282460"/>
            <a:ext cx="847417" cy="780356"/>
          </a:xfrm>
          <a:prstGeom prst="rect">
            <a:avLst/>
          </a:prstGeom>
        </p:spPr>
      </p:pic>
      <p:cxnSp>
        <p:nvCxnSpPr>
          <p:cNvPr id="107" name="Straight Arrow Connector 106">
            <a:extLst>
              <a:ext uri="{FF2B5EF4-FFF2-40B4-BE49-F238E27FC236}">
                <a16:creationId xmlns:a16="http://schemas.microsoft.com/office/drawing/2014/main" id="{34807044-19C0-4AF9-B860-0FE69DF94242}"/>
              </a:ext>
            </a:extLst>
          </p:cNvPr>
          <p:cNvCxnSpPr>
            <a:cxnSpLocks/>
          </p:cNvCxnSpPr>
          <p:nvPr/>
        </p:nvCxnSpPr>
        <p:spPr>
          <a:xfrm>
            <a:off x="1452462" y="1850161"/>
            <a:ext cx="1791362" cy="987397"/>
          </a:xfrm>
          <a:prstGeom prst="straightConnector1">
            <a:avLst/>
          </a:prstGeom>
          <a:ln w="28575">
            <a:solidFill>
              <a:srgbClr val="C00000"/>
            </a:solidFill>
            <a:prstDash val="dash"/>
            <a:tailEnd type="triangle"/>
          </a:ln>
        </p:spPr>
        <p:style>
          <a:lnRef idx="1">
            <a:schemeClr val="accent3"/>
          </a:lnRef>
          <a:fillRef idx="0">
            <a:schemeClr val="accent3"/>
          </a:fillRef>
          <a:effectRef idx="0">
            <a:schemeClr val="accent3"/>
          </a:effectRef>
          <a:fontRef idx="minor">
            <a:schemeClr val="tx1"/>
          </a:fontRef>
        </p:style>
      </p:cxnSp>
      <p:sp>
        <p:nvSpPr>
          <p:cNvPr id="30" name="TextBox 29">
            <a:extLst>
              <a:ext uri="{FF2B5EF4-FFF2-40B4-BE49-F238E27FC236}">
                <a16:creationId xmlns:a16="http://schemas.microsoft.com/office/drawing/2014/main" id="{18BA23AA-4020-4AEF-81BA-397C83BE6DC9}"/>
              </a:ext>
            </a:extLst>
          </p:cNvPr>
          <p:cNvSpPr txBox="1"/>
          <p:nvPr/>
        </p:nvSpPr>
        <p:spPr>
          <a:xfrm>
            <a:off x="5575277" y="1486669"/>
            <a:ext cx="6241002" cy="2800767"/>
          </a:xfrm>
          <a:prstGeom prst="rect">
            <a:avLst/>
          </a:prstGeom>
          <a:noFill/>
        </p:spPr>
        <p:txBody>
          <a:bodyPr wrap="square">
            <a:spAutoFit/>
          </a:bodyPr>
          <a:lstStyle/>
          <a:p>
            <a:r>
              <a:rPr lang="en-US" sz="1600" dirty="0">
                <a:latin typeface="Segoe UI" panose="020B0502040204020203" pitchFamily="34" charset="0"/>
                <a:cs typeface="Segoe UI" panose="020B0502040204020203" pitchFamily="34" charset="0"/>
              </a:rPr>
              <a:t>To overcome the difficulty in accurately reproducing interaction history from memory, an in-app </a:t>
            </a:r>
            <a:r>
              <a:rPr lang="en-US" sz="1600" b="1" i="1" dirty="0">
                <a:latin typeface="Segoe UI" panose="020B0502040204020203" pitchFamily="34" charset="0"/>
                <a:cs typeface="Segoe UI" panose="020B0502040204020203" pitchFamily="34" charset="0"/>
              </a:rPr>
              <a:t>“Enter Daily Log”</a:t>
            </a:r>
            <a:r>
              <a:rPr lang="en-US" sz="1600" b="1" dirty="0">
                <a:latin typeface="Segoe UI" panose="020B0502040204020203" pitchFamily="34" charset="0"/>
                <a:cs typeface="Segoe UI" panose="020B0502040204020203" pitchFamily="34" charset="0"/>
              </a:rPr>
              <a:t> </a:t>
            </a:r>
            <a:r>
              <a:rPr lang="en-US" sz="1600" dirty="0">
                <a:latin typeface="Segoe UI" panose="020B0502040204020203" pitchFamily="34" charset="0"/>
                <a:cs typeface="Segoe UI" panose="020B0502040204020203" pitchFamily="34" charset="0"/>
              </a:rPr>
              <a:t>option is provided where the user can willfully enter his/her daily whereabouts just like maintaining a diary. All the log entries are then filtered by Microsoft Azure’s natural language understanding LUIS model, to extract key information like location, time and person or number of persons interacted with, which is then stored with date stamp. When infected, user can tap on ‘Upload Daily Logs’, so that authorities can find and warn people who might have come in contact, with maximum accuracy. Also, healthcare workers don’t have to go door to door.</a:t>
            </a:r>
          </a:p>
        </p:txBody>
      </p:sp>
      <p:sp>
        <p:nvSpPr>
          <p:cNvPr id="34" name="TextBox 33">
            <a:extLst>
              <a:ext uri="{FF2B5EF4-FFF2-40B4-BE49-F238E27FC236}">
                <a16:creationId xmlns:a16="http://schemas.microsoft.com/office/drawing/2014/main" id="{9BFFD036-92BF-432B-A51B-8FC7507C1076}"/>
              </a:ext>
            </a:extLst>
          </p:cNvPr>
          <p:cNvSpPr txBox="1"/>
          <p:nvPr/>
        </p:nvSpPr>
        <p:spPr>
          <a:xfrm>
            <a:off x="150918" y="5746404"/>
            <a:ext cx="10546673" cy="954107"/>
          </a:xfrm>
          <a:prstGeom prst="rect">
            <a:avLst/>
          </a:prstGeom>
          <a:noFill/>
        </p:spPr>
        <p:txBody>
          <a:bodyPr wrap="square">
            <a:spAutoFit/>
          </a:bodyPr>
          <a:lstStyle/>
          <a:p>
            <a:pPr marL="285750" indent="-285750" algn="just">
              <a:buFont typeface="Arial" panose="020B0604020202020204" pitchFamily="34" charset="0"/>
              <a:buChar char="•"/>
            </a:pP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he health condition will appear anonymously on doctors’ feed and the social media servers will only act as passage of data app-to-app and nothing will be required to be stored in server. Even the LUIS service currently requires no storage overhead, the app sends in data, LUIS filters it Live, and sends data back. Privacy cannot be compromised at any stage. And the app will serve a purpose all year round. The app currently has </a:t>
            </a:r>
            <a:r>
              <a:rPr kumimoji="0" lang="en-US" sz="1400" b="1" i="1"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Talk to Healthbot”</a:t>
            </a:r>
            <a:r>
              <a:rPr kumimoji="0" lang="en-US" sz="1400" b="0" i="1"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dirty="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option, a chatbot for self health assessment.</a:t>
            </a:r>
            <a:endParaRPr lang="en-IN" sz="1400" dirty="0"/>
          </a:p>
        </p:txBody>
      </p:sp>
    </p:spTree>
    <p:extLst>
      <p:ext uri="{BB962C8B-B14F-4D97-AF65-F5344CB8AC3E}">
        <p14:creationId xmlns:p14="http://schemas.microsoft.com/office/powerpoint/2010/main" val="21409494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2B6FF3-33C5-4942-843C-768D5F9A40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5B2B6FF3-33C5-4942-843C-768D5F9A40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5" name="Rectangle: Rounded Corners 84">
            <a:extLst>
              <a:ext uri="{FF2B5EF4-FFF2-40B4-BE49-F238E27FC236}">
                <a16:creationId xmlns:a16="http://schemas.microsoft.com/office/drawing/2014/main" id="{68E15090-2B82-4A49-B4B2-8F6B1510051D}"/>
              </a:ext>
            </a:extLst>
          </p:cNvPr>
          <p:cNvSpPr/>
          <p:nvPr/>
        </p:nvSpPr>
        <p:spPr>
          <a:xfrm>
            <a:off x="522513" y="3259663"/>
            <a:ext cx="3553729" cy="2670620"/>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chemeClr val="tx1">
                  <a:lumMod val="75000"/>
                  <a:lumOff val="25000"/>
                </a:schemeClr>
              </a:solidFill>
              <a:effectLst/>
              <a:latin typeface="Segoe UI" panose="020B0502040204020203" pitchFamily="34" charset="0"/>
              <a:cs typeface="Segoe UI" panose="020B0502040204020203" pitchFamily="34" charset="0"/>
            </a:endParaRPr>
          </a:p>
        </p:txBody>
      </p:sp>
      <p:sp>
        <p:nvSpPr>
          <p:cNvPr id="86" name="Rectangle: Rounded Corners 85">
            <a:extLst>
              <a:ext uri="{FF2B5EF4-FFF2-40B4-BE49-F238E27FC236}">
                <a16:creationId xmlns:a16="http://schemas.microsoft.com/office/drawing/2014/main" id="{86983144-AFC2-4A1F-A753-5F3243CEA54C}"/>
              </a:ext>
            </a:extLst>
          </p:cNvPr>
          <p:cNvSpPr/>
          <p:nvPr/>
        </p:nvSpPr>
        <p:spPr>
          <a:xfrm>
            <a:off x="4247845" y="3259664"/>
            <a:ext cx="3553729" cy="2670620"/>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chemeClr val="tx1">
                  <a:lumMod val="75000"/>
                  <a:lumOff val="25000"/>
                </a:schemeClr>
              </a:solidFill>
              <a:effectLst/>
              <a:latin typeface="Segoe UI" panose="020B0502040204020203" pitchFamily="34" charset="0"/>
              <a:cs typeface="Segoe UI" panose="020B0502040204020203" pitchFamily="34" charset="0"/>
            </a:endParaRPr>
          </a:p>
        </p:txBody>
      </p:sp>
      <p:sp>
        <p:nvSpPr>
          <p:cNvPr id="87" name="Rectangle: Rounded Corners 86">
            <a:extLst>
              <a:ext uri="{FF2B5EF4-FFF2-40B4-BE49-F238E27FC236}">
                <a16:creationId xmlns:a16="http://schemas.microsoft.com/office/drawing/2014/main" id="{6F0DAECB-8FFA-4045-9EEE-2068CCBD2FC0}"/>
              </a:ext>
            </a:extLst>
          </p:cNvPr>
          <p:cNvSpPr/>
          <p:nvPr/>
        </p:nvSpPr>
        <p:spPr>
          <a:xfrm>
            <a:off x="7973177" y="3259664"/>
            <a:ext cx="3553729" cy="2670620"/>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chemeClr val="tx1">
                  <a:lumMod val="75000"/>
                  <a:lumOff val="25000"/>
                </a:schemeClr>
              </a:solidFill>
              <a:effectLst/>
              <a:latin typeface="Segoe UI" panose="020B0502040204020203" pitchFamily="34" charset="0"/>
              <a:cs typeface="Segoe UI" panose="020B0502040204020203" pitchFamily="34" charset="0"/>
            </a:endParaRPr>
          </a:p>
        </p:txBody>
      </p:sp>
      <p:sp>
        <p:nvSpPr>
          <p:cNvPr id="5" name="Rectangle 4">
            <a:extLst>
              <a:ext uri="{FF2B5EF4-FFF2-40B4-BE49-F238E27FC236}">
                <a16:creationId xmlns:a16="http://schemas.microsoft.com/office/drawing/2014/main" id="{84D780B4-F0CA-4EEB-BBDB-DB2A65B8D07D}"/>
              </a:ext>
            </a:extLst>
          </p:cNvPr>
          <p:cNvSpPr/>
          <p:nvPr/>
        </p:nvSpPr>
        <p:spPr>
          <a:xfrm>
            <a:off x="0" y="0"/>
            <a:ext cx="12192001" cy="3265437"/>
          </a:xfrm>
          <a:prstGeom prst="rect">
            <a:avLst/>
          </a:prstGeom>
          <a:gradFill flip="none" rotWithShape="1">
            <a:gsLst>
              <a:gs pos="0">
                <a:srgbClr val="2F2F37">
                  <a:alpha val="90000"/>
                </a:srgbClr>
              </a:gs>
              <a:gs pos="94000">
                <a:srgbClr val="1E1E24">
                  <a:alpha val="8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itle 3">
            <a:extLst>
              <a:ext uri="{FF2B5EF4-FFF2-40B4-BE49-F238E27FC236}">
                <a16:creationId xmlns:a16="http://schemas.microsoft.com/office/drawing/2014/main" id="{E724945E-CA55-49FB-9518-F4A3F4ED89CF}"/>
              </a:ext>
            </a:extLst>
          </p:cNvPr>
          <p:cNvSpPr txBox="1">
            <a:spLocks/>
          </p:cNvSpPr>
          <p:nvPr/>
        </p:nvSpPr>
        <p:spPr>
          <a:xfrm>
            <a:off x="522513" y="402945"/>
            <a:ext cx="11154756" cy="80525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solidFill>
                  <a:schemeClr val="bg1"/>
                </a:solidFill>
                <a:latin typeface="Segoe UI" panose="020B0502040204020203" pitchFamily="34" charset="0"/>
                <a:cs typeface="Segoe UI" panose="020B0502040204020203" pitchFamily="34" charset="0"/>
              </a:rPr>
              <a:t>Impact</a:t>
            </a:r>
          </a:p>
        </p:txBody>
      </p:sp>
      <p:sp>
        <p:nvSpPr>
          <p:cNvPr id="88" name="Rectangle 87">
            <a:extLst>
              <a:ext uri="{FF2B5EF4-FFF2-40B4-BE49-F238E27FC236}">
                <a16:creationId xmlns:a16="http://schemas.microsoft.com/office/drawing/2014/main" id="{CFD1A522-7A1E-4289-B9CB-44E2FE0CCB56}"/>
              </a:ext>
            </a:extLst>
          </p:cNvPr>
          <p:cNvSpPr/>
          <p:nvPr/>
        </p:nvSpPr>
        <p:spPr>
          <a:xfrm>
            <a:off x="522513" y="1247554"/>
            <a:ext cx="3630826" cy="1848546"/>
          </a:xfrm>
          <a:prstGeom prst="rect">
            <a:avLst/>
          </a:prstGeom>
        </p:spPr>
        <p:txBody>
          <a:bodyPr wrap="square" lIns="0" tIns="0" rIns="0" bIns="0" anchor="t" anchorCtr="0">
            <a:noAutofit/>
          </a:bodyPr>
          <a:lstStyle/>
          <a:p>
            <a:pPr>
              <a:spcBef>
                <a:spcPts val="600"/>
              </a:spcBef>
              <a:buClr>
                <a:srgbClr val="7983D7"/>
              </a:buClr>
            </a:pPr>
            <a:r>
              <a:rPr lang="en-US" sz="1600" b="0" i="0" dirty="0">
                <a:solidFill>
                  <a:schemeClr val="bg1"/>
                </a:solidFill>
                <a:effectLst/>
                <a:latin typeface="Segoe UI" panose="020B0502040204020203" pitchFamily="34" charset="0"/>
                <a:cs typeface="Segoe UI" panose="020B0502040204020203" pitchFamily="34" charset="0"/>
              </a:rPr>
              <a:t>BLE, Sign-In and QR contact tracing methods, along with ‘Desk’ account feature, universal time-stamped code logic and multi-user support feature, increase chances of an individual being part of the Lazarus system. He/she would have been otherwise left untraced by ordinary proximity trackers.</a:t>
            </a:r>
          </a:p>
        </p:txBody>
      </p:sp>
      <p:sp>
        <p:nvSpPr>
          <p:cNvPr id="89" name="Rectangle 88">
            <a:extLst>
              <a:ext uri="{FF2B5EF4-FFF2-40B4-BE49-F238E27FC236}">
                <a16:creationId xmlns:a16="http://schemas.microsoft.com/office/drawing/2014/main" id="{C27FAE82-490E-4BF9-8CF1-CC7B50C8CCCF}"/>
              </a:ext>
            </a:extLst>
          </p:cNvPr>
          <p:cNvSpPr/>
          <p:nvPr/>
        </p:nvSpPr>
        <p:spPr>
          <a:xfrm>
            <a:off x="665094" y="3373337"/>
            <a:ext cx="3289144" cy="917834"/>
          </a:xfrm>
          <a:prstGeom prst="rect">
            <a:avLst/>
          </a:prstGeom>
        </p:spPr>
        <p:txBody>
          <a:bodyPr wrap="square" lIns="0" tIns="0" rIns="0" bIns="0" anchor="t" anchorCtr="0">
            <a:noAutofit/>
          </a:bodyPr>
          <a:lstStyle/>
          <a:p>
            <a:pPr marL="216000" indent="-216000">
              <a:spcBef>
                <a:spcPts val="600"/>
              </a:spcBef>
              <a:buClr>
                <a:srgbClr val="7983D7"/>
              </a:buClr>
              <a:buFont typeface="Arial" panose="020B0604020202020204" pitchFamily="34" charset="0"/>
              <a:buChar char="•"/>
            </a:pPr>
            <a:r>
              <a:rPr lang="en-US" sz="1400" b="0" i="0" dirty="0">
                <a:solidFill>
                  <a:schemeClr val="tx1">
                    <a:lumMod val="75000"/>
                    <a:lumOff val="25000"/>
                  </a:schemeClr>
                </a:solidFill>
                <a:effectLst/>
                <a:latin typeface="Segoe UI" panose="020B0502040204020203" pitchFamily="34" charset="0"/>
                <a:cs typeface="Segoe UI" panose="020B0502040204020203" pitchFamily="34" charset="0"/>
              </a:rPr>
              <a:t>Since the above features increase user base faster than actual app downloads, hotspots and super spreaders can be identified more easily and predictive models can be generated faster. Authorities can then on basis of such models in any country and also go for cross country measures.</a:t>
            </a:r>
          </a:p>
        </p:txBody>
      </p:sp>
      <p:sp>
        <p:nvSpPr>
          <p:cNvPr id="92" name="Rectangle 91">
            <a:extLst>
              <a:ext uri="{FF2B5EF4-FFF2-40B4-BE49-F238E27FC236}">
                <a16:creationId xmlns:a16="http://schemas.microsoft.com/office/drawing/2014/main" id="{862E538D-8268-4BB2-8AF8-B9448A947791}"/>
              </a:ext>
            </a:extLst>
          </p:cNvPr>
          <p:cNvSpPr/>
          <p:nvPr/>
        </p:nvSpPr>
        <p:spPr>
          <a:xfrm>
            <a:off x="4247844" y="1531862"/>
            <a:ext cx="3553729" cy="1618290"/>
          </a:xfrm>
          <a:prstGeom prst="rect">
            <a:avLst/>
          </a:prstGeom>
        </p:spPr>
        <p:txBody>
          <a:bodyPr wrap="square" lIns="0" tIns="0" rIns="0" bIns="0" anchor="t" anchorCtr="0">
            <a:noAutofit/>
          </a:bodyPr>
          <a:lstStyle/>
          <a:p>
            <a:pPr>
              <a:spcBef>
                <a:spcPts val="600"/>
              </a:spcBef>
              <a:buClr>
                <a:srgbClr val="7983D7"/>
              </a:buClr>
            </a:pPr>
            <a:r>
              <a:rPr lang="en-US" sz="1600" b="0" i="0" dirty="0">
                <a:solidFill>
                  <a:schemeClr val="bg1"/>
                </a:solidFill>
                <a:effectLst/>
                <a:latin typeface="Segoe UI" panose="020B0502040204020203" pitchFamily="34" charset="0"/>
                <a:cs typeface="Segoe UI" panose="020B0502040204020203" pitchFamily="34" charset="0"/>
              </a:rPr>
              <a:t>Diary-keeping feature reduces dependence on door-to-door contact tracing by healthcare workers, efficiency of pandemic control efforts increases manifold.</a:t>
            </a:r>
          </a:p>
        </p:txBody>
      </p:sp>
      <p:sp>
        <p:nvSpPr>
          <p:cNvPr id="93" name="Rectangle 92">
            <a:extLst>
              <a:ext uri="{FF2B5EF4-FFF2-40B4-BE49-F238E27FC236}">
                <a16:creationId xmlns:a16="http://schemas.microsoft.com/office/drawing/2014/main" id="{3A64BDFB-90B8-457A-86F6-D1D8F7E89E0A}"/>
              </a:ext>
            </a:extLst>
          </p:cNvPr>
          <p:cNvSpPr/>
          <p:nvPr/>
        </p:nvSpPr>
        <p:spPr>
          <a:xfrm>
            <a:off x="4380137" y="3373337"/>
            <a:ext cx="3289144" cy="917834"/>
          </a:xfrm>
          <a:prstGeom prst="rect">
            <a:avLst/>
          </a:prstGeom>
        </p:spPr>
        <p:txBody>
          <a:bodyPr wrap="square" lIns="0" tIns="0" rIns="0" bIns="0" anchor="t" anchorCtr="0">
            <a:noAutofit/>
          </a:bodyPr>
          <a:lstStyle/>
          <a:p>
            <a:pPr marL="216000" indent="-216000">
              <a:spcBef>
                <a:spcPts val="600"/>
              </a:spcBef>
              <a:buClr>
                <a:srgbClr val="7983D7"/>
              </a:buClr>
              <a:buFont typeface="Arial" panose="020B0604020202020204" pitchFamily="34" charset="0"/>
              <a:buChar char="•"/>
            </a:pPr>
            <a:r>
              <a:rPr lang="en-US" sz="1400" b="0" i="0" dirty="0">
                <a:solidFill>
                  <a:schemeClr val="tx1">
                    <a:lumMod val="75000"/>
                    <a:lumOff val="25000"/>
                  </a:schemeClr>
                </a:solidFill>
                <a:effectLst/>
                <a:latin typeface="Segoe UI" panose="020B0502040204020203" pitchFamily="34" charset="0"/>
                <a:cs typeface="Segoe UI" panose="020B0502040204020203" pitchFamily="34" charset="0"/>
              </a:rPr>
              <a:t>With the proposed social media feature, the user receives honest medical advice which is not always guaranteed in paid visits where the doctor’s or hospitals’ vested interests can allow for misguidance and foul play.</a:t>
            </a:r>
          </a:p>
        </p:txBody>
      </p:sp>
      <p:sp>
        <p:nvSpPr>
          <p:cNvPr id="94" name="Rectangle 93">
            <a:extLst>
              <a:ext uri="{FF2B5EF4-FFF2-40B4-BE49-F238E27FC236}">
                <a16:creationId xmlns:a16="http://schemas.microsoft.com/office/drawing/2014/main" id="{A9DB3552-444E-47C6-BD59-CC0352100D1A}"/>
              </a:ext>
            </a:extLst>
          </p:cNvPr>
          <p:cNvSpPr/>
          <p:nvPr/>
        </p:nvSpPr>
        <p:spPr>
          <a:xfrm>
            <a:off x="4380137" y="4886919"/>
            <a:ext cx="3289144" cy="917834"/>
          </a:xfrm>
          <a:prstGeom prst="rect">
            <a:avLst/>
          </a:prstGeom>
        </p:spPr>
        <p:txBody>
          <a:bodyPr wrap="square" lIns="0" tIns="0" rIns="0" bIns="0" anchor="t" anchorCtr="0">
            <a:noAutofit/>
          </a:bodyPr>
          <a:lstStyle/>
          <a:p>
            <a:pPr marL="216000" indent="-216000">
              <a:spcBef>
                <a:spcPts val="600"/>
              </a:spcBef>
              <a:buClr>
                <a:srgbClr val="7983D7"/>
              </a:buClr>
              <a:buFont typeface="Arial" panose="020B0604020202020204" pitchFamily="34" charset="0"/>
              <a:buChar char="•"/>
            </a:pPr>
            <a:r>
              <a:rPr lang="en-US" sz="1400" b="0" i="0" dirty="0">
                <a:solidFill>
                  <a:schemeClr val="tx1">
                    <a:lumMod val="75000"/>
                    <a:lumOff val="25000"/>
                  </a:schemeClr>
                </a:solidFill>
                <a:effectLst/>
                <a:latin typeface="Segoe UI" panose="020B0502040204020203" pitchFamily="34" charset="0"/>
                <a:cs typeface="Segoe UI" panose="020B0502040204020203" pitchFamily="34" charset="0"/>
              </a:rPr>
              <a:t>This could enable early detection and diagnosis of health issues of user with professional guidance. Researchers can also gather scientifically valuable medical data from this user base.</a:t>
            </a:r>
          </a:p>
        </p:txBody>
      </p:sp>
      <p:sp>
        <p:nvSpPr>
          <p:cNvPr id="96" name="Rectangle 95">
            <a:extLst>
              <a:ext uri="{FF2B5EF4-FFF2-40B4-BE49-F238E27FC236}">
                <a16:creationId xmlns:a16="http://schemas.microsoft.com/office/drawing/2014/main" id="{5FBFCC97-0734-4E97-88DF-962882703924}"/>
              </a:ext>
            </a:extLst>
          </p:cNvPr>
          <p:cNvSpPr/>
          <p:nvPr/>
        </p:nvSpPr>
        <p:spPr>
          <a:xfrm>
            <a:off x="7973175" y="1242960"/>
            <a:ext cx="3493945" cy="1226004"/>
          </a:xfrm>
          <a:prstGeom prst="rect">
            <a:avLst/>
          </a:prstGeom>
        </p:spPr>
        <p:txBody>
          <a:bodyPr wrap="square" lIns="0" tIns="0" rIns="0" bIns="0" anchor="t" anchorCtr="0">
            <a:noAutofit/>
          </a:bodyPr>
          <a:lstStyle/>
          <a:p>
            <a:pPr>
              <a:spcBef>
                <a:spcPts val="600"/>
              </a:spcBef>
              <a:buClr>
                <a:srgbClr val="7983D7"/>
              </a:buClr>
            </a:pPr>
            <a:r>
              <a:rPr lang="en-US" sz="1600" b="0" i="0" dirty="0">
                <a:solidFill>
                  <a:schemeClr val="bg1"/>
                </a:solidFill>
                <a:effectLst/>
                <a:latin typeface="Segoe UI" panose="020B0502040204020203" pitchFamily="34" charset="0"/>
                <a:cs typeface="Segoe UI" panose="020B0502040204020203" pitchFamily="34" charset="0"/>
              </a:rPr>
              <a:t>During all the proximity tracking processes, none of the users’ confidential  account details are revealed, even though phone number and email addresses are exchanged, as Azure Functions handles the exchange of time-stamped codes in backend.</a:t>
            </a:r>
          </a:p>
        </p:txBody>
      </p:sp>
      <p:sp>
        <p:nvSpPr>
          <p:cNvPr id="97" name="Rectangle 96">
            <a:extLst>
              <a:ext uri="{FF2B5EF4-FFF2-40B4-BE49-F238E27FC236}">
                <a16:creationId xmlns:a16="http://schemas.microsoft.com/office/drawing/2014/main" id="{6AADA34B-6BB8-4E30-8014-8D4B1FEA46C8}"/>
              </a:ext>
            </a:extLst>
          </p:cNvPr>
          <p:cNvSpPr/>
          <p:nvPr/>
        </p:nvSpPr>
        <p:spPr>
          <a:xfrm>
            <a:off x="8101864" y="3373337"/>
            <a:ext cx="3236565" cy="917834"/>
          </a:xfrm>
          <a:prstGeom prst="rect">
            <a:avLst/>
          </a:prstGeom>
        </p:spPr>
        <p:txBody>
          <a:bodyPr wrap="square" lIns="0" tIns="0" rIns="0" bIns="0" anchor="t" anchorCtr="0">
            <a:noAutofit/>
          </a:bodyPr>
          <a:lstStyle/>
          <a:p>
            <a:pPr marL="216000" indent="-216000">
              <a:spcBef>
                <a:spcPts val="600"/>
              </a:spcBef>
              <a:buClr>
                <a:srgbClr val="7983D7"/>
              </a:buClr>
              <a:buFont typeface="Arial" panose="020B0604020202020204" pitchFamily="34" charset="0"/>
              <a:buChar char="•"/>
            </a:pPr>
            <a:r>
              <a:rPr lang="en-US" sz="1400" b="0" i="0" dirty="0">
                <a:solidFill>
                  <a:schemeClr val="tx1">
                    <a:lumMod val="75000"/>
                    <a:lumOff val="25000"/>
                  </a:schemeClr>
                </a:solidFill>
                <a:effectLst/>
                <a:latin typeface="Segoe UI" panose="020B0502040204020203" pitchFamily="34" charset="0"/>
                <a:cs typeface="Segoe UI" panose="020B0502040204020203" pitchFamily="34" charset="0"/>
              </a:rPr>
              <a:t>The user decides if he/she wants to upload his/her data for analysis. And all uploaded data is maintained with enough anonymity to prevent prejudice in analysis.</a:t>
            </a:r>
          </a:p>
        </p:txBody>
      </p:sp>
      <p:sp>
        <p:nvSpPr>
          <p:cNvPr id="16" name="Rectangle: Rounded Corners 15">
            <a:extLst>
              <a:ext uri="{FF2B5EF4-FFF2-40B4-BE49-F238E27FC236}">
                <a16:creationId xmlns:a16="http://schemas.microsoft.com/office/drawing/2014/main" id="{8E428CFC-D37A-4E13-8121-4A2B4CA64697}"/>
              </a:ext>
            </a:extLst>
          </p:cNvPr>
          <p:cNvSpPr/>
          <p:nvPr/>
        </p:nvSpPr>
        <p:spPr>
          <a:xfrm>
            <a:off x="325742" y="6038183"/>
            <a:ext cx="11397934" cy="682800"/>
          </a:xfrm>
          <a:prstGeom prst="roundRect">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dirty="0">
                <a:solidFill>
                  <a:schemeClr val="tx1">
                    <a:lumMod val="75000"/>
                    <a:lumOff val="25000"/>
                  </a:schemeClr>
                </a:solidFill>
                <a:effectLst/>
                <a:latin typeface="Segoe UI" panose="020B0502040204020203" pitchFamily="34" charset="0"/>
                <a:cs typeface="Segoe UI" panose="020B0502040204020203" pitchFamily="34" charset="0"/>
              </a:rPr>
              <a:t>I have informally approached two of my college professors in 50-70 age bracket, 8 of my batchmates and two of my seniors who are now working professionals in IT and power plant industries, about their views on the practicality of my solution. All of them replied that they could see themselves as using the application and that it had wide scale potentials.</a:t>
            </a:r>
          </a:p>
        </p:txBody>
      </p:sp>
    </p:spTree>
    <p:extLst>
      <p:ext uri="{BB962C8B-B14F-4D97-AF65-F5344CB8AC3E}">
        <p14:creationId xmlns:p14="http://schemas.microsoft.com/office/powerpoint/2010/main" val="20570303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Rounded Corners 60">
            <a:extLst>
              <a:ext uri="{FF2B5EF4-FFF2-40B4-BE49-F238E27FC236}">
                <a16:creationId xmlns:a16="http://schemas.microsoft.com/office/drawing/2014/main" id="{234FA787-500B-448E-96A7-983B3B464FFA}"/>
              </a:ext>
            </a:extLst>
          </p:cNvPr>
          <p:cNvSpPr/>
          <p:nvPr/>
        </p:nvSpPr>
        <p:spPr>
          <a:xfrm>
            <a:off x="396013" y="5768470"/>
            <a:ext cx="11397934" cy="947139"/>
          </a:xfrm>
          <a:prstGeom prst="roundRect">
            <a:avLst>
              <a:gd name="adj"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dirty="0">
                <a:solidFill>
                  <a:schemeClr val="tx1">
                    <a:lumMod val="75000"/>
                    <a:lumOff val="25000"/>
                  </a:schemeClr>
                </a:solidFill>
                <a:effectLst/>
                <a:latin typeface="Segoe UI" panose="020B0502040204020203" pitchFamily="34" charset="0"/>
                <a:cs typeface="Segoe UI" panose="020B0502040204020203" pitchFamily="34" charset="0"/>
              </a:rPr>
              <a:t>Cost of the app’s cloud-based features would not vary much from user to user and rather depend on size of user base.</a:t>
            </a:r>
          </a:p>
          <a:p>
            <a:r>
              <a:rPr lang="en-US" sz="1500" dirty="0">
                <a:solidFill>
                  <a:schemeClr val="tx1">
                    <a:lumMod val="75000"/>
                    <a:lumOff val="25000"/>
                  </a:schemeClr>
                </a:solidFill>
                <a:effectLst/>
                <a:latin typeface="Segoe UI" panose="020B0502040204020203" pitchFamily="34" charset="0"/>
                <a:cs typeface="Segoe UI" panose="020B0502040204020203" pitchFamily="34" charset="0"/>
              </a:rPr>
              <a:t>The only point of cost variation can arise in the social media platform we intend to implement. But the social media feature can also be monetized in a freemium model, with premium account features and advertisement, while keeping the service free for user.</a:t>
            </a:r>
          </a:p>
        </p:txBody>
      </p:sp>
      <p:graphicFrame>
        <p:nvGraphicFramePr>
          <p:cNvPr id="4" name="Object 3" hidden="1">
            <a:extLst>
              <a:ext uri="{FF2B5EF4-FFF2-40B4-BE49-F238E27FC236}">
                <a16:creationId xmlns:a16="http://schemas.microsoft.com/office/drawing/2014/main" id="{34FD082A-D71A-47B2-B949-A30F66A375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34FD082A-D71A-47B2-B949-A30F66A375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1B002FB1-E7BE-4A10-8289-840A508549F9}"/>
              </a:ext>
            </a:extLst>
          </p:cNvPr>
          <p:cNvSpPr/>
          <p:nvPr/>
        </p:nvSpPr>
        <p:spPr>
          <a:xfrm>
            <a:off x="-1019" y="-46294"/>
            <a:ext cx="12191999" cy="5823976"/>
          </a:xfrm>
          <a:prstGeom prst="rect">
            <a:avLst/>
          </a:prstGeom>
          <a:gradFill flip="none" rotWithShape="1">
            <a:gsLst>
              <a:gs pos="0">
                <a:srgbClr val="2F2F37">
                  <a:alpha val="90000"/>
                </a:srgbClr>
              </a:gs>
              <a:gs pos="94000">
                <a:srgbClr val="1E1E24">
                  <a:alpha val="8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Oval 93">
            <a:extLst>
              <a:ext uri="{FF2B5EF4-FFF2-40B4-BE49-F238E27FC236}">
                <a16:creationId xmlns:a16="http://schemas.microsoft.com/office/drawing/2014/main" id="{7FF0C9A6-A62B-46EA-B427-234A7648174F}"/>
              </a:ext>
            </a:extLst>
          </p:cNvPr>
          <p:cNvSpPr/>
          <p:nvPr/>
        </p:nvSpPr>
        <p:spPr>
          <a:xfrm>
            <a:off x="4793597" y="2191287"/>
            <a:ext cx="674407" cy="674407"/>
          </a:xfrm>
          <a:prstGeom prst="ellipse">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a:extLst>
              <a:ext uri="{FF2B5EF4-FFF2-40B4-BE49-F238E27FC236}">
                <a16:creationId xmlns:a16="http://schemas.microsoft.com/office/drawing/2014/main" id="{6327EF37-366F-4CFA-BFBE-C98B68B841BF}"/>
              </a:ext>
            </a:extLst>
          </p:cNvPr>
          <p:cNvSpPr/>
          <p:nvPr/>
        </p:nvSpPr>
        <p:spPr>
          <a:xfrm>
            <a:off x="8349597" y="2191287"/>
            <a:ext cx="674407" cy="674407"/>
          </a:xfrm>
          <a:prstGeom prst="ellipse">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itle 3">
            <a:extLst>
              <a:ext uri="{FF2B5EF4-FFF2-40B4-BE49-F238E27FC236}">
                <a16:creationId xmlns:a16="http://schemas.microsoft.com/office/drawing/2014/main" id="{FF136781-EF41-4C2A-A70F-FC804AA14EFE}"/>
              </a:ext>
            </a:extLst>
          </p:cNvPr>
          <p:cNvSpPr txBox="1">
            <a:spLocks/>
          </p:cNvSpPr>
          <p:nvPr/>
        </p:nvSpPr>
        <p:spPr>
          <a:xfrm>
            <a:off x="3834681" y="269481"/>
            <a:ext cx="7849319" cy="83773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dirty="0">
                <a:solidFill>
                  <a:schemeClr val="bg1"/>
                </a:solidFill>
                <a:latin typeface="Segoe UI" panose="020B0502040204020203" pitchFamily="34" charset="0"/>
                <a:cs typeface="Segoe UI" panose="020B0502040204020203" pitchFamily="34" charset="0"/>
              </a:rPr>
              <a:t>Implementation</a:t>
            </a:r>
            <a:endParaRPr lang="en-US" dirty="0">
              <a:solidFill>
                <a:schemeClr val="bg1"/>
              </a:solidFill>
              <a:latin typeface="Segoe UI" panose="020B0502040204020203" pitchFamily="34" charset="0"/>
              <a:cs typeface="Segoe UI" panose="020B0502040204020203" pitchFamily="34" charset="0"/>
            </a:endParaRPr>
          </a:p>
        </p:txBody>
      </p:sp>
      <p:cxnSp>
        <p:nvCxnSpPr>
          <p:cNvPr id="60" name="Straight Connector 59">
            <a:extLst>
              <a:ext uri="{FF2B5EF4-FFF2-40B4-BE49-F238E27FC236}">
                <a16:creationId xmlns:a16="http://schemas.microsoft.com/office/drawing/2014/main" id="{14769E4F-7672-41F0-9CBE-D18E40FEC122}"/>
              </a:ext>
            </a:extLst>
          </p:cNvPr>
          <p:cNvCxnSpPr>
            <a:cxnSpLocks/>
          </p:cNvCxnSpPr>
          <p:nvPr/>
        </p:nvCxnSpPr>
        <p:spPr>
          <a:xfrm>
            <a:off x="3266983" y="2519245"/>
            <a:ext cx="810269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Arc 62">
            <a:extLst>
              <a:ext uri="{FF2B5EF4-FFF2-40B4-BE49-F238E27FC236}">
                <a16:creationId xmlns:a16="http://schemas.microsoft.com/office/drawing/2014/main" id="{D13BD035-B95E-4095-9560-3AF41C172264}"/>
              </a:ext>
            </a:extLst>
          </p:cNvPr>
          <p:cNvSpPr/>
          <p:nvPr/>
        </p:nvSpPr>
        <p:spPr>
          <a:xfrm>
            <a:off x="10923832" y="2520692"/>
            <a:ext cx="896365" cy="768244"/>
          </a:xfrm>
          <a:prstGeom prst="arc">
            <a:avLst>
              <a:gd name="adj1" fmla="val 16200000"/>
              <a:gd name="adj2" fmla="val 176476"/>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7" name="Straight Connector 66">
            <a:extLst>
              <a:ext uri="{FF2B5EF4-FFF2-40B4-BE49-F238E27FC236}">
                <a16:creationId xmlns:a16="http://schemas.microsoft.com/office/drawing/2014/main" id="{1981E5E0-DD2E-4782-A46D-CB2ACCB91621}"/>
              </a:ext>
            </a:extLst>
          </p:cNvPr>
          <p:cNvCxnSpPr>
            <a:cxnSpLocks/>
          </p:cNvCxnSpPr>
          <p:nvPr/>
        </p:nvCxnSpPr>
        <p:spPr>
          <a:xfrm>
            <a:off x="11812115" y="2876262"/>
            <a:ext cx="0" cy="71437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0" name="Arc 69">
            <a:extLst>
              <a:ext uri="{FF2B5EF4-FFF2-40B4-BE49-F238E27FC236}">
                <a16:creationId xmlns:a16="http://schemas.microsoft.com/office/drawing/2014/main" id="{CD6B41B9-83BE-48EB-BBA3-2F98088AAD65}"/>
              </a:ext>
            </a:extLst>
          </p:cNvPr>
          <p:cNvSpPr/>
          <p:nvPr/>
        </p:nvSpPr>
        <p:spPr>
          <a:xfrm rot="5400000">
            <a:off x="10961231" y="3057125"/>
            <a:ext cx="787770" cy="913998"/>
          </a:xfrm>
          <a:prstGeom prst="arc">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73" name="Straight Connector 72">
            <a:extLst>
              <a:ext uri="{FF2B5EF4-FFF2-40B4-BE49-F238E27FC236}">
                <a16:creationId xmlns:a16="http://schemas.microsoft.com/office/drawing/2014/main" id="{A0F57DEC-CB3F-45C3-A3B5-89E1FFBD8DCA}"/>
              </a:ext>
            </a:extLst>
          </p:cNvPr>
          <p:cNvCxnSpPr>
            <a:cxnSpLocks/>
          </p:cNvCxnSpPr>
          <p:nvPr/>
        </p:nvCxnSpPr>
        <p:spPr>
          <a:xfrm>
            <a:off x="3768273" y="3907092"/>
            <a:ext cx="7601402" cy="365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0876A382-C39F-4AE6-9043-78F3A5B700CD}"/>
              </a:ext>
            </a:extLst>
          </p:cNvPr>
          <p:cNvGrpSpPr/>
          <p:nvPr/>
        </p:nvGrpSpPr>
        <p:grpSpPr>
          <a:xfrm flipH="1">
            <a:off x="3405602" y="3907092"/>
            <a:ext cx="725342" cy="1391506"/>
            <a:chOff x="10977708" y="3990585"/>
            <a:chExt cx="725342" cy="1391506"/>
          </a:xfrm>
        </p:grpSpPr>
        <p:sp>
          <p:nvSpPr>
            <p:cNvPr id="79" name="Arc 78">
              <a:extLst>
                <a:ext uri="{FF2B5EF4-FFF2-40B4-BE49-F238E27FC236}">
                  <a16:creationId xmlns:a16="http://schemas.microsoft.com/office/drawing/2014/main" id="{4C0BE667-0DF8-456F-8F66-33BE052C9772}"/>
                </a:ext>
              </a:extLst>
            </p:cNvPr>
            <p:cNvSpPr/>
            <p:nvPr/>
          </p:nvSpPr>
          <p:spPr>
            <a:xfrm>
              <a:off x="10977708" y="3990585"/>
              <a:ext cx="725342" cy="725342"/>
            </a:xfrm>
            <a:prstGeom prst="arc">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80" name="Straight Connector 79">
              <a:extLst>
                <a:ext uri="{FF2B5EF4-FFF2-40B4-BE49-F238E27FC236}">
                  <a16:creationId xmlns:a16="http://schemas.microsoft.com/office/drawing/2014/main" id="{15ABAFA1-C3DB-4878-AB5D-8C8BB8B8E520}"/>
                </a:ext>
              </a:extLst>
            </p:cNvPr>
            <p:cNvCxnSpPr>
              <a:cxnSpLocks/>
            </p:cNvCxnSpPr>
            <p:nvPr/>
          </p:nvCxnSpPr>
          <p:spPr>
            <a:xfrm>
              <a:off x="11703050" y="4343400"/>
              <a:ext cx="0" cy="71437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Arc 80">
              <a:extLst>
                <a:ext uri="{FF2B5EF4-FFF2-40B4-BE49-F238E27FC236}">
                  <a16:creationId xmlns:a16="http://schemas.microsoft.com/office/drawing/2014/main" id="{9317B688-91B1-4115-BD54-990DB9993C29}"/>
                </a:ext>
              </a:extLst>
            </p:cNvPr>
            <p:cNvSpPr/>
            <p:nvPr/>
          </p:nvSpPr>
          <p:spPr>
            <a:xfrm rot="5400000">
              <a:off x="10977708" y="4656749"/>
              <a:ext cx="725342" cy="725342"/>
            </a:xfrm>
            <a:prstGeom prst="arc">
              <a:avLst/>
            </a:prstGeom>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84" name="Straight Connector 83">
            <a:extLst>
              <a:ext uri="{FF2B5EF4-FFF2-40B4-BE49-F238E27FC236}">
                <a16:creationId xmlns:a16="http://schemas.microsoft.com/office/drawing/2014/main" id="{34C6E4F9-5B0C-4AD7-8303-C9C8BF3A68E5}"/>
              </a:ext>
            </a:extLst>
          </p:cNvPr>
          <p:cNvCxnSpPr>
            <a:cxnSpLocks/>
          </p:cNvCxnSpPr>
          <p:nvPr/>
        </p:nvCxnSpPr>
        <p:spPr>
          <a:xfrm>
            <a:off x="3768273" y="5298598"/>
            <a:ext cx="4880427" cy="280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466B5DF6-6762-4D52-B359-0A9CE011F05F}"/>
              </a:ext>
            </a:extLst>
          </p:cNvPr>
          <p:cNvGrpSpPr/>
          <p:nvPr/>
        </p:nvGrpSpPr>
        <p:grpSpPr>
          <a:xfrm>
            <a:off x="4936903" y="2330292"/>
            <a:ext cx="387795" cy="387795"/>
            <a:chOff x="4254574" y="2587901"/>
            <a:chExt cx="624548" cy="624548"/>
          </a:xfrm>
        </p:grpSpPr>
        <p:sp>
          <p:nvSpPr>
            <p:cNvPr id="86" name="Oval 85">
              <a:extLst>
                <a:ext uri="{FF2B5EF4-FFF2-40B4-BE49-F238E27FC236}">
                  <a16:creationId xmlns:a16="http://schemas.microsoft.com/office/drawing/2014/main" id="{BA67061F-CA2A-4D58-8EEF-8011D2D089D0}"/>
                </a:ext>
              </a:extLst>
            </p:cNvPr>
            <p:cNvSpPr/>
            <p:nvPr/>
          </p:nvSpPr>
          <p:spPr>
            <a:xfrm>
              <a:off x="4254574" y="2587901"/>
              <a:ext cx="624548" cy="624548"/>
            </a:xfrm>
            <a:prstGeom prst="ellipse">
              <a:avLst/>
            </a:prstGeom>
            <a:gradFill>
              <a:gsLst>
                <a:gs pos="0">
                  <a:srgbClr val="4757B8"/>
                </a:gs>
                <a:gs pos="94000">
                  <a:srgbClr val="7983D7">
                    <a:lumMod val="98000"/>
                  </a:srgbClr>
                </a:gs>
              </a:gsLst>
              <a:lin ang="8100000" scaled="1"/>
            </a:gra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Freeform: Shape 86">
              <a:extLst>
                <a:ext uri="{FF2B5EF4-FFF2-40B4-BE49-F238E27FC236}">
                  <a16:creationId xmlns:a16="http://schemas.microsoft.com/office/drawing/2014/main" id="{60C88986-0166-4D24-8422-F252086D16DC}"/>
                </a:ext>
              </a:extLst>
            </p:cNvPr>
            <p:cNvSpPr/>
            <p:nvPr/>
          </p:nvSpPr>
          <p:spPr>
            <a:xfrm>
              <a:off x="4328281" y="2693438"/>
              <a:ext cx="550841" cy="519011"/>
            </a:xfrm>
            <a:custGeom>
              <a:avLst/>
              <a:gdLst>
                <a:gd name="connsiteX0" fmla="*/ 470991 w 550841"/>
                <a:gd name="connsiteY0" fmla="*/ 0 h 519011"/>
                <a:gd name="connsiteX1" fmla="*/ 497510 w 550841"/>
                <a:gd name="connsiteY1" fmla="*/ 32142 h 519011"/>
                <a:gd name="connsiteX2" fmla="*/ 550841 w 550841"/>
                <a:gd name="connsiteY2" fmla="*/ 206737 h 519011"/>
                <a:gd name="connsiteX3" fmla="*/ 238567 w 550841"/>
                <a:gd name="connsiteY3" fmla="*/ 519011 h 519011"/>
                <a:gd name="connsiteX4" fmla="*/ 17756 w 550841"/>
                <a:gd name="connsiteY4" fmla="*/ 427548 h 519011"/>
                <a:gd name="connsiteX5" fmla="*/ 0 w 550841"/>
                <a:gd name="connsiteY5" fmla="*/ 406027 h 51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41" h="519011">
                  <a:moveTo>
                    <a:pt x="470991" y="0"/>
                  </a:moveTo>
                  <a:lnTo>
                    <a:pt x="497510" y="32142"/>
                  </a:lnTo>
                  <a:cubicBezTo>
                    <a:pt x="531180" y="81981"/>
                    <a:pt x="550841" y="142063"/>
                    <a:pt x="550841" y="206737"/>
                  </a:cubicBezTo>
                  <a:cubicBezTo>
                    <a:pt x="550841" y="379201"/>
                    <a:pt x="411031" y="519011"/>
                    <a:pt x="238567" y="519011"/>
                  </a:cubicBezTo>
                  <a:cubicBezTo>
                    <a:pt x="152335" y="519011"/>
                    <a:pt x="74267" y="484059"/>
                    <a:pt x="17756" y="427548"/>
                  </a:cubicBezTo>
                  <a:lnTo>
                    <a:pt x="0" y="406027"/>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104" name="Group 103">
            <a:extLst>
              <a:ext uri="{FF2B5EF4-FFF2-40B4-BE49-F238E27FC236}">
                <a16:creationId xmlns:a16="http://schemas.microsoft.com/office/drawing/2014/main" id="{C982B585-96F0-4B93-AB7D-D806C28AF3E4}"/>
              </a:ext>
            </a:extLst>
          </p:cNvPr>
          <p:cNvGrpSpPr/>
          <p:nvPr/>
        </p:nvGrpSpPr>
        <p:grpSpPr>
          <a:xfrm>
            <a:off x="8492903" y="2330292"/>
            <a:ext cx="387795" cy="387795"/>
            <a:chOff x="4254574" y="2587901"/>
            <a:chExt cx="624548" cy="624548"/>
          </a:xfrm>
        </p:grpSpPr>
        <p:sp>
          <p:nvSpPr>
            <p:cNvPr id="105" name="Oval 104">
              <a:extLst>
                <a:ext uri="{FF2B5EF4-FFF2-40B4-BE49-F238E27FC236}">
                  <a16:creationId xmlns:a16="http://schemas.microsoft.com/office/drawing/2014/main" id="{04D76286-518E-42F6-9A52-B21D7FFAD344}"/>
                </a:ext>
              </a:extLst>
            </p:cNvPr>
            <p:cNvSpPr/>
            <p:nvPr/>
          </p:nvSpPr>
          <p:spPr>
            <a:xfrm>
              <a:off x="4254574" y="2587901"/>
              <a:ext cx="624548" cy="624548"/>
            </a:xfrm>
            <a:prstGeom prst="ellipse">
              <a:avLst/>
            </a:prstGeom>
            <a:gradFill>
              <a:gsLst>
                <a:gs pos="0">
                  <a:srgbClr val="4757B8"/>
                </a:gs>
                <a:gs pos="94000">
                  <a:srgbClr val="7983D7">
                    <a:lumMod val="98000"/>
                  </a:srgbClr>
                </a:gs>
              </a:gsLst>
              <a:lin ang="8100000" scaled="1"/>
            </a:gra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reeform: Shape 105">
              <a:extLst>
                <a:ext uri="{FF2B5EF4-FFF2-40B4-BE49-F238E27FC236}">
                  <a16:creationId xmlns:a16="http://schemas.microsoft.com/office/drawing/2014/main" id="{4E70C38C-460B-4C4C-8A30-02CFCC180CDA}"/>
                </a:ext>
              </a:extLst>
            </p:cNvPr>
            <p:cNvSpPr/>
            <p:nvPr/>
          </p:nvSpPr>
          <p:spPr>
            <a:xfrm>
              <a:off x="4328281" y="2693438"/>
              <a:ext cx="550841" cy="519011"/>
            </a:xfrm>
            <a:custGeom>
              <a:avLst/>
              <a:gdLst>
                <a:gd name="connsiteX0" fmla="*/ 470991 w 550841"/>
                <a:gd name="connsiteY0" fmla="*/ 0 h 519011"/>
                <a:gd name="connsiteX1" fmla="*/ 497510 w 550841"/>
                <a:gd name="connsiteY1" fmla="*/ 32142 h 519011"/>
                <a:gd name="connsiteX2" fmla="*/ 550841 w 550841"/>
                <a:gd name="connsiteY2" fmla="*/ 206737 h 519011"/>
                <a:gd name="connsiteX3" fmla="*/ 238567 w 550841"/>
                <a:gd name="connsiteY3" fmla="*/ 519011 h 519011"/>
                <a:gd name="connsiteX4" fmla="*/ 17756 w 550841"/>
                <a:gd name="connsiteY4" fmla="*/ 427548 h 519011"/>
                <a:gd name="connsiteX5" fmla="*/ 0 w 550841"/>
                <a:gd name="connsiteY5" fmla="*/ 406027 h 51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41" h="519011">
                  <a:moveTo>
                    <a:pt x="470991" y="0"/>
                  </a:moveTo>
                  <a:lnTo>
                    <a:pt x="497510" y="32142"/>
                  </a:lnTo>
                  <a:cubicBezTo>
                    <a:pt x="531180" y="81981"/>
                    <a:pt x="550841" y="142063"/>
                    <a:pt x="550841" y="206737"/>
                  </a:cubicBezTo>
                  <a:cubicBezTo>
                    <a:pt x="550841" y="379201"/>
                    <a:pt x="411031" y="519011"/>
                    <a:pt x="238567" y="519011"/>
                  </a:cubicBezTo>
                  <a:cubicBezTo>
                    <a:pt x="152335" y="519011"/>
                    <a:pt x="74267" y="484059"/>
                    <a:pt x="17756" y="427548"/>
                  </a:cubicBezTo>
                  <a:lnTo>
                    <a:pt x="0" y="406027"/>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12" name="Oval 111">
            <a:extLst>
              <a:ext uri="{FF2B5EF4-FFF2-40B4-BE49-F238E27FC236}">
                <a16:creationId xmlns:a16="http://schemas.microsoft.com/office/drawing/2014/main" id="{05B4AA4A-526A-4B2C-8DC1-FC101197AFDA}"/>
              </a:ext>
            </a:extLst>
          </p:cNvPr>
          <p:cNvSpPr/>
          <p:nvPr/>
        </p:nvSpPr>
        <p:spPr>
          <a:xfrm>
            <a:off x="6906565" y="3582024"/>
            <a:ext cx="674407" cy="674407"/>
          </a:xfrm>
          <a:prstGeom prst="ellipse">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a:extLst>
              <a:ext uri="{FF2B5EF4-FFF2-40B4-BE49-F238E27FC236}">
                <a16:creationId xmlns:a16="http://schemas.microsoft.com/office/drawing/2014/main" id="{78D2D071-C2A4-414C-AA95-0B2E3686B8DA}"/>
              </a:ext>
            </a:extLst>
          </p:cNvPr>
          <p:cNvSpPr/>
          <p:nvPr/>
        </p:nvSpPr>
        <p:spPr>
          <a:xfrm>
            <a:off x="10127597" y="3574190"/>
            <a:ext cx="674407" cy="674407"/>
          </a:xfrm>
          <a:prstGeom prst="ellipse">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8" name="Group 117">
            <a:extLst>
              <a:ext uri="{FF2B5EF4-FFF2-40B4-BE49-F238E27FC236}">
                <a16:creationId xmlns:a16="http://schemas.microsoft.com/office/drawing/2014/main" id="{B484D75A-0649-4C3E-9D58-0F578BAA31E8}"/>
              </a:ext>
            </a:extLst>
          </p:cNvPr>
          <p:cNvGrpSpPr/>
          <p:nvPr/>
        </p:nvGrpSpPr>
        <p:grpSpPr>
          <a:xfrm>
            <a:off x="7049872" y="3721759"/>
            <a:ext cx="387795" cy="387795"/>
            <a:chOff x="4254574" y="2587901"/>
            <a:chExt cx="624548" cy="624548"/>
          </a:xfrm>
        </p:grpSpPr>
        <p:sp>
          <p:nvSpPr>
            <p:cNvPr id="119" name="Oval 118">
              <a:extLst>
                <a:ext uri="{FF2B5EF4-FFF2-40B4-BE49-F238E27FC236}">
                  <a16:creationId xmlns:a16="http://schemas.microsoft.com/office/drawing/2014/main" id="{355CE634-26C4-4C85-A81A-A45586C392A9}"/>
                </a:ext>
              </a:extLst>
            </p:cNvPr>
            <p:cNvSpPr/>
            <p:nvPr/>
          </p:nvSpPr>
          <p:spPr>
            <a:xfrm>
              <a:off x="4254574" y="2587901"/>
              <a:ext cx="624548" cy="624548"/>
            </a:xfrm>
            <a:prstGeom prst="ellipse">
              <a:avLst/>
            </a:prstGeom>
            <a:gradFill>
              <a:gsLst>
                <a:gs pos="0">
                  <a:srgbClr val="4757B8"/>
                </a:gs>
                <a:gs pos="94000">
                  <a:srgbClr val="7983D7">
                    <a:lumMod val="98000"/>
                  </a:srgbClr>
                </a:gs>
              </a:gsLst>
              <a:lin ang="8100000" scaled="1"/>
            </a:gra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Freeform: Shape 119">
              <a:extLst>
                <a:ext uri="{FF2B5EF4-FFF2-40B4-BE49-F238E27FC236}">
                  <a16:creationId xmlns:a16="http://schemas.microsoft.com/office/drawing/2014/main" id="{70F6DE8C-B40C-42DA-89A5-69A1ADE45D31}"/>
                </a:ext>
              </a:extLst>
            </p:cNvPr>
            <p:cNvSpPr/>
            <p:nvPr/>
          </p:nvSpPr>
          <p:spPr>
            <a:xfrm>
              <a:off x="4328281" y="2693438"/>
              <a:ext cx="550841" cy="519011"/>
            </a:xfrm>
            <a:custGeom>
              <a:avLst/>
              <a:gdLst>
                <a:gd name="connsiteX0" fmla="*/ 470991 w 550841"/>
                <a:gd name="connsiteY0" fmla="*/ 0 h 519011"/>
                <a:gd name="connsiteX1" fmla="*/ 497510 w 550841"/>
                <a:gd name="connsiteY1" fmla="*/ 32142 h 519011"/>
                <a:gd name="connsiteX2" fmla="*/ 550841 w 550841"/>
                <a:gd name="connsiteY2" fmla="*/ 206737 h 519011"/>
                <a:gd name="connsiteX3" fmla="*/ 238567 w 550841"/>
                <a:gd name="connsiteY3" fmla="*/ 519011 h 519011"/>
                <a:gd name="connsiteX4" fmla="*/ 17756 w 550841"/>
                <a:gd name="connsiteY4" fmla="*/ 427548 h 519011"/>
                <a:gd name="connsiteX5" fmla="*/ 0 w 550841"/>
                <a:gd name="connsiteY5" fmla="*/ 406027 h 51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41" h="519011">
                  <a:moveTo>
                    <a:pt x="470991" y="0"/>
                  </a:moveTo>
                  <a:lnTo>
                    <a:pt x="497510" y="32142"/>
                  </a:lnTo>
                  <a:cubicBezTo>
                    <a:pt x="531180" y="81981"/>
                    <a:pt x="550841" y="142063"/>
                    <a:pt x="550841" y="206737"/>
                  </a:cubicBezTo>
                  <a:cubicBezTo>
                    <a:pt x="550841" y="379201"/>
                    <a:pt x="411031" y="519011"/>
                    <a:pt x="238567" y="519011"/>
                  </a:cubicBezTo>
                  <a:cubicBezTo>
                    <a:pt x="152335" y="519011"/>
                    <a:pt x="74267" y="484059"/>
                    <a:pt x="17756" y="427548"/>
                  </a:cubicBezTo>
                  <a:lnTo>
                    <a:pt x="0" y="406027"/>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124" name="Group 123">
            <a:extLst>
              <a:ext uri="{FF2B5EF4-FFF2-40B4-BE49-F238E27FC236}">
                <a16:creationId xmlns:a16="http://schemas.microsoft.com/office/drawing/2014/main" id="{463D57E4-6D94-4A9B-920E-534612C760D6}"/>
              </a:ext>
            </a:extLst>
          </p:cNvPr>
          <p:cNvGrpSpPr/>
          <p:nvPr/>
        </p:nvGrpSpPr>
        <p:grpSpPr>
          <a:xfrm>
            <a:off x="10270903" y="3713195"/>
            <a:ext cx="387795" cy="387795"/>
            <a:chOff x="4254574" y="2587901"/>
            <a:chExt cx="624548" cy="624548"/>
          </a:xfrm>
        </p:grpSpPr>
        <p:sp>
          <p:nvSpPr>
            <p:cNvPr id="125" name="Oval 124">
              <a:extLst>
                <a:ext uri="{FF2B5EF4-FFF2-40B4-BE49-F238E27FC236}">
                  <a16:creationId xmlns:a16="http://schemas.microsoft.com/office/drawing/2014/main" id="{D2D6AB80-B0EB-4274-8F05-BEE76D53DBE7}"/>
                </a:ext>
              </a:extLst>
            </p:cNvPr>
            <p:cNvSpPr/>
            <p:nvPr/>
          </p:nvSpPr>
          <p:spPr>
            <a:xfrm>
              <a:off x="4254574" y="2587901"/>
              <a:ext cx="624548" cy="624548"/>
            </a:xfrm>
            <a:prstGeom prst="ellipse">
              <a:avLst/>
            </a:prstGeom>
            <a:gradFill>
              <a:gsLst>
                <a:gs pos="0">
                  <a:srgbClr val="4757B8"/>
                </a:gs>
                <a:gs pos="94000">
                  <a:srgbClr val="7983D7">
                    <a:lumMod val="98000"/>
                  </a:srgbClr>
                </a:gs>
              </a:gsLst>
              <a:lin ang="8100000" scaled="1"/>
            </a:gra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Freeform: Shape 125">
              <a:extLst>
                <a:ext uri="{FF2B5EF4-FFF2-40B4-BE49-F238E27FC236}">
                  <a16:creationId xmlns:a16="http://schemas.microsoft.com/office/drawing/2014/main" id="{EC740BCE-98F1-484A-AC1D-1CFA719B2A1A}"/>
                </a:ext>
              </a:extLst>
            </p:cNvPr>
            <p:cNvSpPr/>
            <p:nvPr/>
          </p:nvSpPr>
          <p:spPr>
            <a:xfrm>
              <a:off x="4328281" y="2693438"/>
              <a:ext cx="550841" cy="519011"/>
            </a:xfrm>
            <a:custGeom>
              <a:avLst/>
              <a:gdLst>
                <a:gd name="connsiteX0" fmla="*/ 470991 w 550841"/>
                <a:gd name="connsiteY0" fmla="*/ 0 h 519011"/>
                <a:gd name="connsiteX1" fmla="*/ 497510 w 550841"/>
                <a:gd name="connsiteY1" fmla="*/ 32142 h 519011"/>
                <a:gd name="connsiteX2" fmla="*/ 550841 w 550841"/>
                <a:gd name="connsiteY2" fmla="*/ 206737 h 519011"/>
                <a:gd name="connsiteX3" fmla="*/ 238567 w 550841"/>
                <a:gd name="connsiteY3" fmla="*/ 519011 h 519011"/>
                <a:gd name="connsiteX4" fmla="*/ 17756 w 550841"/>
                <a:gd name="connsiteY4" fmla="*/ 427548 h 519011"/>
                <a:gd name="connsiteX5" fmla="*/ 0 w 550841"/>
                <a:gd name="connsiteY5" fmla="*/ 406027 h 51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41" h="519011">
                  <a:moveTo>
                    <a:pt x="470991" y="0"/>
                  </a:moveTo>
                  <a:lnTo>
                    <a:pt x="497510" y="32142"/>
                  </a:lnTo>
                  <a:cubicBezTo>
                    <a:pt x="531180" y="81981"/>
                    <a:pt x="550841" y="142063"/>
                    <a:pt x="550841" y="206737"/>
                  </a:cubicBezTo>
                  <a:cubicBezTo>
                    <a:pt x="550841" y="379201"/>
                    <a:pt x="411031" y="519011"/>
                    <a:pt x="238567" y="519011"/>
                  </a:cubicBezTo>
                  <a:cubicBezTo>
                    <a:pt x="152335" y="519011"/>
                    <a:pt x="74267" y="484059"/>
                    <a:pt x="17756" y="427548"/>
                  </a:cubicBezTo>
                  <a:lnTo>
                    <a:pt x="0" y="406027"/>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27" name="Oval 126">
            <a:extLst>
              <a:ext uri="{FF2B5EF4-FFF2-40B4-BE49-F238E27FC236}">
                <a16:creationId xmlns:a16="http://schemas.microsoft.com/office/drawing/2014/main" id="{100707C0-4E15-4CDA-86BA-CE711338B2C1}"/>
              </a:ext>
            </a:extLst>
          </p:cNvPr>
          <p:cNvSpPr/>
          <p:nvPr/>
        </p:nvSpPr>
        <p:spPr>
          <a:xfrm>
            <a:off x="4793597" y="4955809"/>
            <a:ext cx="674407" cy="674407"/>
          </a:xfrm>
          <a:prstGeom prst="ellipse">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a16="http://schemas.microsoft.com/office/drawing/2014/main" id="{4D4FC760-8AEF-40BF-8E1B-B3CBC4861A4D}"/>
              </a:ext>
            </a:extLst>
          </p:cNvPr>
          <p:cNvSpPr/>
          <p:nvPr/>
        </p:nvSpPr>
        <p:spPr>
          <a:xfrm>
            <a:off x="8349597" y="4955809"/>
            <a:ext cx="674407" cy="674407"/>
          </a:xfrm>
          <a:prstGeom prst="ellipse">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1" name="Group 130">
            <a:extLst>
              <a:ext uri="{FF2B5EF4-FFF2-40B4-BE49-F238E27FC236}">
                <a16:creationId xmlns:a16="http://schemas.microsoft.com/office/drawing/2014/main" id="{28FE2DB8-8039-4C59-A7EF-4621FC7BCDE0}"/>
              </a:ext>
            </a:extLst>
          </p:cNvPr>
          <p:cNvGrpSpPr/>
          <p:nvPr/>
        </p:nvGrpSpPr>
        <p:grpSpPr>
          <a:xfrm>
            <a:off x="4936903" y="5094814"/>
            <a:ext cx="387795" cy="387795"/>
            <a:chOff x="4254574" y="2587901"/>
            <a:chExt cx="624548" cy="624548"/>
          </a:xfrm>
        </p:grpSpPr>
        <p:sp>
          <p:nvSpPr>
            <p:cNvPr id="132" name="Oval 131">
              <a:extLst>
                <a:ext uri="{FF2B5EF4-FFF2-40B4-BE49-F238E27FC236}">
                  <a16:creationId xmlns:a16="http://schemas.microsoft.com/office/drawing/2014/main" id="{7FF91847-1071-4AD1-BE1B-0F564802E499}"/>
                </a:ext>
              </a:extLst>
            </p:cNvPr>
            <p:cNvSpPr/>
            <p:nvPr/>
          </p:nvSpPr>
          <p:spPr>
            <a:xfrm>
              <a:off x="4254574" y="2587901"/>
              <a:ext cx="624548" cy="624548"/>
            </a:xfrm>
            <a:prstGeom prst="ellipse">
              <a:avLst/>
            </a:prstGeom>
            <a:gradFill>
              <a:gsLst>
                <a:gs pos="0">
                  <a:srgbClr val="4757B8"/>
                </a:gs>
                <a:gs pos="94000">
                  <a:srgbClr val="7983D7">
                    <a:lumMod val="98000"/>
                  </a:srgbClr>
                </a:gs>
              </a:gsLst>
              <a:lin ang="8100000" scaled="1"/>
            </a:gra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Freeform: Shape 132">
              <a:extLst>
                <a:ext uri="{FF2B5EF4-FFF2-40B4-BE49-F238E27FC236}">
                  <a16:creationId xmlns:a16="http://schemas.microsoft.com/office/drawing/2014/main" id="{71A6CC00-B0E1-4A1B-86B1-CF6D424F3B6C}"/>
                </a:ext>
              </a:extLst>
            </p:cNvPr>
            <p:cNvSpPr/>
            <p:nvPr/>
          </p:nvSpPr>
          <p:spPr>
            <a:xfrm>
              <a:off x="4328281" y="2693438"/>
              <a:ext cx="550841" cy="519011"/>
            </a:xfrm>
            <a:custGeom>
              <a:avLst/>
              <a:gdLst>
                <a:gd name="connsiteX0" fmla="*/ 470991 w 550841"/>
                <a:gd name="connsiteY0" fmla="*/ 0 h 519011"/>
                <a:gd name="connsiteX1" fmla="*/ 497510 w 550841"/>
                <a:gd name="connsiteY1" fmla="*/ 32142 h 519011"/>
                <a:gd name="connsiteX2" fmla="*/ 550841 w 550841"/>
                <a:gd name="connsiteY2" fmla="*/ 206737 h 519011"/>
                <a:gd name="connsiteX3" fmla="*/ 238567 w 550841"/>
                <a:gd name="connsiteY3" fmla="*/ 519011 h 519011"/>
                <a:gd name="connsiteX4" fmla="*/ 17756 w 550841"/>
                <a:gd name="connsiteY4" fmla="*/ 427548 h 519011"/>
                <a:gd name="connsiteX5" fmla="*/ 0 w 550841"/>
                <a:gd name="connsiteY5" fmla="*/ 406027 h 51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41" h="519011">
                  <a:moveTo>
                    <a:pt x="470991" y="0"/>
                  </a:moveTo>
                  <a:lnTo>
                    <a:pt x="497510" y="32142"/>
                  </a:lnTo>
                  <a:cubicBezTo>
                    <a:pt x="531180" y="81981"/>
                    <a:pt x="550841" y="142063"/>
                    <a:pt x="550841" y="206737"/>
                  </a:cubicBezTo>
                  <a:cubicBezTo>
                    <a:pt x="550841" y="379201"/>
                    <a:pt x="411031" y="519011"/>
                    <a:pt x="238567" y="519011"/>
                  </a:cubicBezTo>
                  <a:cubicBezTo>
                    <a:pt x="152335" y="519011"/>
                    <a:pt x="74267" y="484059"/>
                    <a:pt x="17756" y="427548"/>
                  </a:cubicBezTo>
                  <a:lnTo>
                    <a:pt x="0" y="406027"/>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137" name="Group 136">
            <a:extLst>
              <a:ext uri="{FF2B5EF4-FFF2-40B4-BE49-F238E27FC236}">
                <a16:creationId xmlns:a16="http://schemas.microsoft.com/office/drawing/2014/main" id="{146CD4F4-E683-474D-83A8-3279A06755D0}"/>
              </a:ext>
            </a:extLst>
          </p:cNvPr>
          <p:cNvGrpSpPr/>
          <p:nvPr/>
        </p:nvGrpSpPr>
        <p:grpSpPr>
          <a:xfrm>
            <a:off x="8492903" y="5094814"/>
            <a:ext cx="387795" cy="387795"/>
            <a:chOff x="4254574" y="2587901"/>
            <a:chExt cx="624548" cy="624548"/>
          </a:xfrm>
        </p:grpSpPr>
        <p:sp>
          <p:nvSpPr>
            <p:cNvPr id="138" name="Oval 137">
              <a:extLst>
                <a:ext uri="{FF2B5EF4-FFF2-40B4-BE49-F238E27FC236}">
                  <a16:creationId xmlns:a16="http://schemas.microsoft.com/office/drawing/2014/main" id="{F15FAFF9-2368-4640-A4B7-5812E512D8D2}"/>
                </a:ext>
              </a:extLst>
            </p:cNvPr>
            <p:cNvSpPr/>
            <p:nvPr/>
          </p:nvSpPr>
          <p:spPr>
            <a:xfrm>
              <a:off x="4254574" y="2587901"/>
              <a:ext cx="624548" cy="624548"/>
            </a:xfrm>
            <a:prstGeom prst="ellipse">
              <a:avLst/>
            </a:prstGeom>
            <a:gradFill>
              <a:gsLst>
                <a:gs pos="0">
                  <a:srgbClr val="4757B8"/>
                </a:gs>
                <a:gs pos="94000">
                  <a:srgbClr val="7983D7">
                    <a:lumMod val="98000"/>
                  </a:srgbClr>
                </a:gs>
              </a:gsLst>
              <a:lin ang="8100000" scaled="1"/>
            </a:gradFill>
            <a:ln w="1016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Freeform: Shape 138">
              <a:extLst>
                <a:ext uri="{FF2B5EF4-FFF2-40B4-BE49-F238E27FC236}">
                  <a16:creationId xmlns:a16="http://schemas.microsoft.com/office/drawing/2014/main" id="{ECCAB77C-F276-4E1F-B1B4-91CEC0C7B1D9}"/>
                </a:ext>
              </a:extLst>
            </p:cNvPr>
            <p:cNvSpPr/>
            <p:nvPr/>
          </p:nvSpPr>
          <p:spPr>
            <a:xfrm>
              <a:off x="4328281" y="2693438"/>
              <a:ext cx="550841" cy="519011"/>
            </a:xfrm>
            <a:custGeom>
              <a:avLst/>
              <a:gdLst>
                <a:gd name="connsiteX0" fmla="*/ 470991 w 550841"/>
                <a:gd name="connsiteY0" fmla="*/ 0 h 519011"/>
                <a:gd name="connsiteX1" fmla="*/ 497510 w 550841"/>
                <a:gd name="connsiteY1" fmla="*/ 32142 h 519011"/>
                <a:gd name="connsiteX2" fmla="*/ 550841 w 550841"/>
                <a:gd name="connsiteY2" fmla="*/ 206737 h 519011"/>
                <a:gd name="connsiteX3" fmla="*/ 238567 w 550841"/>
                <a:gd name="connsiteY3" fmla="*/ 519011 h 519011"/>
                <a:gd name="connsiteX4" fmla="*/ 17756 w 550841"/>
                <a:gd name="connsiteY4" fmla="*/ 427548 h 519011"/>
                <a:gd name="connsiteX5" fmla="*/ 0 w 550841"/>
                <a:gd name="connsiteY5" fmla="*/ 406027 h 51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841" h="519011">
                  <a:moveTo>
                    <a:pt x="470991" y="0"/>
                  </a:moveTo>
                  <a:lnTo>
                    <a:pt x="497510" y="32142"/>
                  </a:lnTo>
                  <a:cubicBezTo>
                    <a:pt x="531180" y="81981"/>
                    <a:pt x="550841" y="142063"/>
                    <a:pt x="550841" y="206737"/>
                  </a:cubicBezTo>
                  <a:cubicBezTo>
                    <a:pt x="550841" y="379201"/>
                    <a:pt x="411031" y="519011"/>
                    <a:pt x="238567" y="519011"/>
                  </a:cubicBezTo>
                  <a:cubicBezTo>
                    <a:pt x="152335" y="519011"/>
                    <a:pt x="74267" y="484059"/>
                    <a:pt x="17756" y="427548"/>
                  </a:cubicBezTo>
                  <a:lnTo>
                    <a:pt x="0" y="406027"/>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44" name="Rectangle 143">
            <a:extLst>
              <a:ext uri="{FF2B5EF4-FFF2-40B4-BE49-F238E27FC236}">
                <a16:creationId xmlns:a16="http://schemas.microsoft.com/office/drawing/2014/main" id="{632ABB96-43D8-4D02-BB87-F3ADC9FE80C1}"/>
              </a:ext>
            </a:extLst>
          </p:cNvPr>
          <p:cNvSpPr/>
          <p:nvPr/>
        </p:nvSpPr>
        <p:spPr>
          <a:xfrm>
            <a:off x="7344368" y="1742794"/>
            <a:ext cx="2730630" cy="430893"/>
          </a:xfrm>
          <a:prstGeom prst="rect">
            <a:avLst/>
          </a:prstGeom>
        </p:spPr>
        <p:txBody>
          <a:bodyPr wrap="square" lIns="0" tIns="0" rIns="0" bIns="0" anchor="b" anchorCtr="0">
            <a:noAutofit/>
          </a:bodyPr>
          <a:lstStyle/>
          <a:p>
            <a:pPr algn="ctr">
              <a:spcBef>
                <a:spcPts val="600"/>
              </a:spcBef>
              <a:buClr>
                <a:srgbClr val="7983D7"/>
              </a:buClr>
            </a:pPr>
            <a:r>
              <a:rPr lang="en-US" sz="1400" dirty="0">
                <a:solidFill>
                  <a:schemeClr val="bg1"/>
                </a:solidFill>
                <a:latin typeface="Segoe UI" panose="020B0502040204020203" pitchFamily="34" charset="0"/>
                <a:cs typeface="Segoe UI" panose="020B0502040204020203" pitchFamily="34" charset="0"/>
              </a:rPr>
              <a:t>Use of ‘Desk’ account at places of gathering like</a:t>
            </a:r>
            <a:r>
              <a:rPr lang="en-US" sz="1400" b="0" i="0" dirty="0">
                <a:solidFill>
                  <a:schemeClr val="bg1"/>
                </a:solidFill>
                <a:effectLst/>
                <a:latin typeface="Segoe UI" panose="020B0502040204020203" pitchFamily="34" charset="0"/>
                <a:cs typeface="Segoe UI" panose="020B0502040204020203" pitchFamily="34" charset="0"/>
              </a:rPr>
              <a:t> offices, shops, classrooms, etc. needs to be emphasized to give initial boost to user base.</a:t>
            </a:r>
          </a:p>
        </p:txBody>
      </p:sp>
      <p:sp>
        <p:nvSpPr>
          <p:cNvPr id="146" name="Rectangle 145">
            <a:extLst>
              <a:ext uri="{FF2B5EF4-FFF2-40B4-BE49-F238E27FC236}">
                <a16:creationId xmlns:a16="http://schemas.microsoft.com/office/drawing/2014/main" id="{5702ABFA-C1BA-4299-8AE3-FB5C1B9FE415}"/>
              </a:ext>
            </a:extLst>
          </p:cNvPr>
          <p:cNvSpPr/>
          <p:nvPr/>
        </p:nvSpPr>
        <p:spPr>
          <a:xfrm>
            <a:off x="3857876" y="1766463"/>
            <a:ext cx="3220256" cy="430893"/>
          </a:xfrm>
          <a:prstGeom prst="rect">
            <a:avLst/>
          </a:prstGeom>
        </p:spPr>
        <p:txBody>
          <a:bodyPr wrap="square" lIns="0" tIns="0" rIns="0" bIns="0" anchor="b" anchorCtr="0">
            <a:noAutofit/>
          </a:bodyPr>
          <a:lstStyle/>
          <a:p>
            <a:pPr>
              <a:spcBef>
                <a:spcPts val="600"/>
              </a:spcBef>
              <a:buClr>
                <a:srgbClr val="7983D7"/>
              </a:buClr>
            </a:pPr>
            <a:r>
              <a:rPr lang="en-US" sz="1400" b="0" i="0" dirty="0">
                <a:solidFill>
                  <a:schemeClr val="bg1"/>
                </a:solidFill>
                <a:effectLst/>
                <a:latin typeface="Segoe UI" panose="020B0502040204020203" pitchFamily="34" charset="0"/>
                <a:cs typeface="Segoe UI" panose="020B0502040204020203" pitchFamily="34" charset="0"/>
              </a:rPr>
              <a:t>A cloud vendor needs to be fixed for services like authentication, serverless functions, NLP, etc. Pay as you go cloud services would be ideal as the user base is not fixed at any time.</a:t>
            </a:r>
          </a:p>
        </p:txBody>
      </p:sp>
      <p:sp>
        <p:nvSpPr>
          <p:cNvPr id="149" name="Rectangle 148">
            <a:extLst>
              <a:ext uri="{FF2B5EF4-FFF2-40B4-BE49-F238E27FC236}">
                <a16:creationId xmlns:a16="http://schemas.microsoft.com/office/drawing/2014/main" id="{8BC53B3F-6795-43FA-BCE3-C4ABD992BE35}"/>
              </a:ext>
            </a:extLst>
          </p:cNvPr>
          <p:cNvSpPr/>
          <p:nvPr/>
        </p:nvSpPr>
        <p:spPr>
          <a:xfrm>
            <a:off x="5886686" y="3167736"/>
            <a:ext cx="2636581" cy="430893"/>
          </a:xfrm>
          <a:prstGeom prst="rect">
            <a:avLst/>
          </a:prstGeom>
        </p:spPr>
        <p:txBody>
          <a:bodyPr wrap="square" lIns="0" tIns="0" rIns="0" bIns="0" anchor="b" anchorCtr="0">
            <a:noAutofit/>
          </a:bodyPr>
          <a:lstStyle/>
          <a:p>
            <a:pPr algn="ctr">
              <a:spcBef>
                <a:spcPts val="600"/>
              </a:spcBef>
              <a:buClr>
                <a:srgbClr val="7983D7"/>
              </a:buClr>
            </a:pPr>
            <a:r>
              <a:rPr lang="en-US" sz="1400" b="0" i="0" dirty="0">
                <a:solidFill>
                  <a:schemeClr val="bg1"/>
                </a:solidFill>
                <a:effectLst/>
                <a:latin typeface="Segoe UI" panose="020B0502040204020203" pitchFamily="34" charset="0"/>
                <a:cs typeface="Segoe UI" panose="020B0502040204020203" pitchFamily="34" charset="0"/>
              </a:rPr>
              <a:t>Integration of the social media platform and testing with ordinary users and actual medical practitioners.</a:t>
            </a:r>
          </a:p>
        </p:txBody>
      </p:sp>
      <p:sp>
        <p:nvSpPr>
          <p:cNvPr id="151" name="Rectangle 150">
            <a:extLst>
              <a:ext uri="{FF2B5EF4-FFF2-40B4-BE49-F238E27FC236}">
                <a16:creationId xmlns:a16="http://schemas.microsoft.com/office/drawing/2014/main" id="{CF0FDAA8-275F-4F0E-9817-A4B67308F31E}"/>
              </a:ext>
            </a:extLst>
          </p:cNvPr>
          <p:cNvSpPr/>
          <p:nvPr/>
        </p:nvSpPr>
        <p:spPr>
          <a:xfrm>
            <a:off x="8686209" y="3117497"/>
            <a:ext cx="3064618" cy="509656"/>
          </a:xfrm>
          <a:prstGeom prst="rect">
            <a:avLst/>
          </a:prstGeom>
        </p:spPr>
        <p:txBody>
          <a:bodyPr wrap="square" lIns="0" tIns="0" rIns="0" bIns="0" anchor="b" anchorCtr="0">
            <a:noAutofit/>
          </a:bodyPr>
          <a:lstStyle/>
          <a:p>
            <a:pPr algn="r">
              <a:spcBef>
                <a:spcPts val="600"/>
              </a:spcBef>
              <a:buClr>
                <a:srgbClr val="7983D7"/>
              </a:buClr>
            </a:pPr>
            <a:r>
              <a:rPr lang="en-US" sz="1400" dirty="0">
                <a:solidFill>
                  <a:schemeClr val="bg1"/>
                </a:solidFill>
                <a:latin typeface="Segoe UI" panose="020B0502040204020203" pitchFamily="34" charset="0"/>
                <a:cs typeface="Segoe UI" panose="020B0502040204020203" pitchFamily="34" charset="0"/>
              </a:rPr>
              <a:t>Cl</a:t>
            </a:r>
            <a:r>
              <a:rPr lang="en-US" sz="1400" b="0" i="0" dirty="0">
                <a:solidFill>
                  <a:schemeClr val="bg1"/>
                </a:solidFill>
                <a:effectLst/>
                <a:latin typeface="Segoe UI" panose="020B0502040204020203" pitchFamily="34" charset="0"/>
                <a:cs typeface="Segoe UI" panose="020B0502040204020203" pitchFamily="34" charset="0"/>
              </a:rPr>
              <a:t>oud-based speech services need to be added under Diary-Keeping feature for users to make diary entries easily through voice in multiple languages.</a:t>
            </a:r>
          </a:p>
        </p:txBody>
      </p:sp>
      <p:sp>
        <p:nvSpPr>
          <p:cNvPr id="153" name="Rectangle 152">
            <a:extLst>
              <a:ext uri="{FF2B5EF4-FFF2-40B4-BE49-F238E27FC236}">
                <a16:creationId xmlns:a16="http://schemas.microsoft.com/office/drawing/2014/main" id="{E8018002-C8A1-48A6-B5CE-A131359FE11C}"/>
              </a:ext>
            </a:extLst>
          </p:cNvPr>
          <p:cNvSpPr/>
          <p:nvPr/>
        </p:nvSpPr>
        <p:spPr>
          <a:xfrm>
            <a:off x="3512457" y="4555582"/>
            <a:ext cx="3562274" cy="488838"/>
          </a:xfrm>
          <a:prstGeom prst="rect">
            <a:avLst/>
          </a:prstGeom>
        </p:spPr>
        <p:txBody>
          <a:bodyPr wrap="square" lIns="0" tIns="0" rIns="0" bIns="0" anchor="b" anchorCtr="0">
            <a:noAutofit/>
          </a:bodyPr>
          <a:lstStyle/>
          <a:p>
            <a:pPr>
              <a:spcBef>
                <a:spcPts val="600"/>
              </a:spcBef>
              <a:buClr>
                <a:srgbClr val="7983D7"/>
              </a:buClr>
            </a:pPr>
            <a:r>
              <a:rPr lang="en-US" sz="1400" dirty="0">
                <a:solidFill>
                  <a:schemeClr val="bg1"/>
                </a:solidFill>
                <a:latin typeface="Segoe UI" panose="020B0502040204020203" pitchFamily="34" charset="0"/>
                <a:cs typeface="Segoe UI" panose="020B0502040204020203" pitchFamily="34" charset="0"/>
              </a:rPr>
              <a:t>A</a:t>
            </a:r>
            <a:r>
              <a:rPr lang="en-US" sz="1400" b="0" i="0" dirty="0">
                <a:solidFill>
                  <a:schemeClr val="bg1"/>
                </a:solidFill>
                <a:effectLst/>
                <a:latin typeface="Segoe UI" panose="020B0502040204020203" pitchFamily="34" charset="0"/>
                <a:cs typeface="Segoe UI" panose="020B0502040204020203" pitchFamily="34" charset="0"/>
              </a:rPr>
              <a:t> webapp to be </a:t>
            </a:r>
            <a:r>
              <a:rPr lang="en-US" sz="1400" dirty="0">
                <a:solidFill>
                  <a:schemeClr val="bg1"/>
                </a:solidFill>
                <a:latin typeface="Segoe UI" panose="020B0502040204020203" pitchFamily="34" charset="0"/>
                <a:cs typeface="Segoe UI" panose="020B0502040204020203" pitchFamily="34" charset="0"/>
              </a:rPr>
              <a:t>implement</a:t>
            </a:r>
            <a:r>
              <a:rPr lang="en-US" sz="1400" b="0" i="0" dirty="0">
                <a:solidFill>
                  <a:schemeClr val="bg1"/>
                </a:solidFill>
                <a:effectLst/>
                <a:latin typeface="Segoe UI" panose="020B0502040204020203" pitchFamily="34" charset="0"/>
                <a:cs typeface="Segoe UI" panose="020B0502040204020203" pitchFamily="34" charset="0"/>
              </a:rPr>
              <a:t>ed that can pull up all uploaded medical data and create research-friendly visualizations (for example, region-wise numbers of diabetic patients under a certain age group at different times).</a:t>
            </a:r>
          </a:p>
        </p:txBody>
      </p:sp>
      <p:sp>
        <p:nvSpPr>
          <p:cNvPr id="154" name="Rectangle 153">
            <a:extLst>
              <a:ext uri="{FF2B5EF4-FFF2-40B4-BE49-F238E27FC236}">
                <a16:creationId xmlns:a16="http://schemas.microsoft.com/office/drawing/2014/main" id="{CB572342-0137-4BB2-9D94-37CB742FA473}"/>
              </a:ext>
            </a:extLst>
          </p:cNvPr>
          <p:cNvSpPr/>
          <p:nvPr/>
        </p:nvSpPr>
        <p:spPr>
          <a:xfrm>
            <a:off x="7437667" y="4420084"/>
            <a:ext cx="2689930" cy="430893"/>
          </a:xfrm>
          <a:prstGeom prst="rect">
            <a:avLst/>
          </a:prstGeom>
        </p:spPr>
        <p:txBody>
          <a:bodyPr wrap="square" lIns="0" tIns="0" rIns="0" bIns="0" anchor="b" anchorCtr="0">
            <a:noAutofit/>
          </a:bodyPr>
          <a:lstStyle/>
          <a:p>
            <a:pPr algn="r">
              <a:spcBef>
                <a:spcPts val="600"/>
              </a:spcBef>
              <a:buClr>
                <a:srgbClr val="7983D7"/>
              </a:buClr>
            </a:pPr>
            <a:r>
              <a:rPr lang="en-US" sz="1400" dirty="0">
                <a:solidFill>
                  <a:schemeClr val="bg1"/>
                </a:solidFill>
                <a:latin typeface="Segoe UI" panose="020B0502040204020203" pitchFamily="34" charset="0"/>
                <a:cs typeface="Segoe UI" panose="020B0502040204020203" pitchFamily="34" charset="0"/>
              </a:rPr>
              <a:t>E</a:t>
            </a:r>
            <a:r>
              <a:rPr lang="en-US" sz="1400" b="0" i="0" dirty="0">
                <a:solidFill>
                  <a:schemeClr val="bg1"/>
                </a:solidFill>
                <a:effectLst/>
                <a:latin typeface="Segoe UI" panose="020B0502040204020203" pitchFamily="34" charset="0"/>
                <a:cs typeface="Segoe UI" panose="020B0502040204020203" pitchFamily="34" charset="0"/>
              </a:rPr>
              <a:t>nhancement of app interface for accommodating more and more users having disabilities</a:t>
            </a:r>
          </a:p>
        </p:txBody>
      </p:sp>
      <p:grpSp>
        <p:nvGrpSpPr>
          <p:cNvPr id="110" name="Group 109">
            <a:extLst>
              <a:ext uri="{FF2B5EF4-FFF2-40B4-BE49-F238E27FC236}">
                <a16:creationId xmlns:a16="http://schemas.microsoft.com/office/drawing/2014/main" id="{5C6987F6-1F86-4D32-B8A0-49D0047FF922}"/>
              </a:ext>
            </a:extLst>
          </p:cNvPr>
          <p:cNvGrpSpPr/>
          <p:nvPr/>
        </p:nvGrpSpPr>
        <p:grpSpPr>
          <a:xfrm>
            <a:off x="-157223" y="410221"/>
            <a:ext cx="3926164" cy="5646455"/>
            <a:chOff x="6701509" y="4009984"/>
            <a:chExt cx="3926164" cy="5646455"/>
          </a:xfrm>
        </p:grpSpPr>
        <p:pic>
          <p:nvPicPr>
            <p:cNvPr id="111" name="Picture 110">
              <a:extLst>
                <a:ext uri="{FF2B5EF4-FFF2-40B4-BE49-F238E27FC236}">
                  <a16:creationId xmlns:a16="http://schemas.microsoft.com/office/drawing/2014/main" id="{C7C8E183-23CB-400D-9D13-8F8B132CD79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421689" y="4199374"/>
              <a:ext cx="2561481" cy="5122962"/>
            </a:xfrm>
            <a:prstGeom prst="roundRect">
              <a:avLst>
                <a:gd name="adj" fmla="val 8562"/>
              </a:avLst>
            </a:prstGeom>
            <a:ln>
              <a:noFill/>
            </a:ln>
          </p:spPr>
        </p:pic>
        <p:pic>
          <p:nvPicPr>
            <p:cNvPr id="113" name="Picture 112">
              <a:extLst>
                <a:ext uri="{FF2B5EF4-FFF2-40B4-BE49-F238E27FC236}">
                  <a16:creationId xmlns:a16="http://schemas.microsoft.com/office/drawing/2014/main" id="{9C0BC01A-ADD7-485E-8C06-7084D229830E}"/>
                </a:ext>
              </a:extLst>
            </p:cNvPr>
            <p:cNvPicPr>
              <a:picLocks noChangeAspect="1"/>
            </p:cNvPicPr>
            <p:nvPr/>
          </p:nvPicPr>
          <p:blipFill>
            <a:blip r:embed="rId7"/>
            <a:stretch>
              <a:fillRect/>
            </a:stretch>
          </p:blipFill>
          <p:spPr>
            <a:xfrm>
              <a:off x="6701509" y="4009984"/>
              <a:ext cx="3926164" cy="5646455"/>
            </a:xfrm>
            <a:prstGeom prst="rect">
              <a:avLst/>
            </a:prstGeom>
            <a:blipFill>
              <a:blip r:embed="rId8"/>
              <a:stretch>
                <a:fillRect/>
              </a:stretch>
            </a:blipFill>
          </p:spPr>
        </p:pic>
      </p:grpSp>
      <p:sp>
        <p:nvSpPr>
          <p:cNvPr id="51" name="TextBox 50">
            <a:extLst>
              <a:ext uri="{FF2B5EF4-FFF2-40B4-BE49-F238E27FC236}">
                <a16:creationId xmlns:a16="http://schemas.microsoft.com/office/drawing/2014/main" id="{8989F457-3615-4FF1-8EA9-40E09290CAD5}"/>
              </a:ext>
            </a:extLst>
          </p:cNvPr>
          <p:cNvSpPr txBox="1"/>
          <p:nvPr/>
        </p:nvSpPr>
        <p:spPr>
          <a:xfrm>
            <a:off x="4943571" y="2342324"/>
            <a:ext cx="355107" cy="372332"/>
          </a:xfrm>
          <a:prstGeom prst="rect">
            <a:avLst/>
          </a:prstGeom>
          <a:noFill/>
        </p:spPr>
        <p:txBody>
          <a:bodyPr wrap="square" rtlCol="0">
            <a:spAutoFit/>
          </a:bodyPr>
          <a:lstStyle/>
          <a:p>
            <a:pPr algn="ctr"/>
            <a:r>
              <a:rPr lang="en-US" dirty="0">
                <a:solidFill>
                  <a:schemeClr val="bg1"/>
                </a:solidFill>
              </a:rPr>
              <a:t>1</a:t>
            </a:r>
            <a:endParaRPr lang="en-IN" dirty="0">
              <a:solidFill>
                <a:schemeClr val="bg1"/>
              </a:solidFill>
            </a:endParaRPr>
          </a:p>
        </p:txBody>
      </p:sp>
      <p:sp>
        <p:nvSpPr>
          <p:cNvPr id="52" name="TextBox 51">
            <a:extLst>
              <a:ext uri="{FF2B5EF4-FFF2-40B4-BE49-F238E27FC236}">
                <a16:creationId xmlns:a16="http://schemas.microsoft.com/office/drawing/2014/main" id="{9D7446AD-5540-4A18-B5E7-07C43A41DE34}"/>
              </a:ext>
            </a:extLst>
          </p:cNvPr>
          <p:cNvSpPr txBox="1"/>
          <p:nvPr/>
        </p:nvSpPr>
        <p:spPr>
          <a:xfrm>
            <a:off x="8508655" y="2330310"/>
            <a:ext cx="355107" cy="372332"/>
          </a:xfrm>
          <a:prstGeom prst="rect">
            <a:avLst/>
          </a:prstGeom>
          <a:noFill/>
        </p:spPr>
        <p:txBody>
          <a:bodyPr wrap="square" rtlCol="0">
            <a:spAutoFit/>
          </a:bodyPr>
          <a:lstStyle/>
          <a:p>
            <a:pPr algn="ctr"/>
            <a:r>
              <a:rPr lang="en-US" dirty="0">
                <a:solidFill>
                  <a:schemeClr val="bg1"/>
                </a:solidFill>
              </a:rPr>
              <a:t>2</a:t>
            </a:r>
            <a:endParaRPr lang="en-IN" dirty="0">
              <a:solidFill>
                <a:schemeClr val="bg1"/>
              </a:solidFill>
            </a:endParaRPr>
          </a:p>
        </p:txBody>
      </p:sp>
      <p:sp>
        <p:nvSpPr>
          <p:cNvPr id="53" name="TextBox 52">
            <a:extLst>
              <a:ext uri="{FF2B5EF4-FFF2-40B4-BE49-F238E27FC236}">
                <a16:creationId xmlns:a16="http://schemas.microsoft.com/office/drawing/2014/main" id="{C8E8C7F1-743F-45DB-B86B-BBD9E9734AF0}"/>
              </a:ext>
            </a:extLst>
          </p:cNvPr>
          <p:cNvSpPr txBox="1"/>
          <p:nvPr/>
        </p:nvSpPr>
        <p:spPr>
          <a:xfrm>
            <a:off x="7067125" y="3715464"/>
            <a:ext cx="355107" cy="372332"/>
          </a:xfrm>
          <a:prstGeom prst="rect">
            <a:avLst/>
          </a:prstGeom>
          <a:noFill/>
        </p:spPr>
        <p:txBody>
          <a:bodyPr wrap="square" rtlCol="0">
            <a:spAutoFit/>
          </a:bodyPr>
          <a:lstStyle/>
          <a:p>
            <a:pPr algn="ctr"/>
            <a:r>
              <a:rPr lang="en-US" dirty="0">
                <a:solidFill>
                  <a:schemeClr val="bg1"/>
                </a:solidFill>
              </a:rPr>
              <a:t>4</a:t>
            </a:r>
            <a:endParaRPr lang="en-IN" dirty="0">
              <a:solidFill>
                <a:schemeClr val="bg1"/>
              </a:solidFill>
            </a:endParaRPr>
          </a:p>
        </p:txBody>
      </p:sp>
      <p:sp>
        <p:nvSpPr>
          <p:cNvPr id="56" name="TextBox 55">
            <a:extLst>
              <a:ext uri="{FF2B5EF4-FFF2-40B4-BE49-F238E27FC236}">
                <a16:creationId xmlns:a16="http://schemas.microsoft.com/office/drawing/2014/main" id="{4C9116DB-E1E6-41ED-838E-34013F4B236A}"/>
              </a:ext>
            </a:extLst>
          </p:cNvPr>
          <p:cNvSpPr txBox="1"/>
          <p:nvPr/>
        </p:nvSpPr>
        <p:spPr>
          <a:xfrm>
            <a:off x="10276402" y="3712026"/>
            <a:ext cx="355107" cy="372332"/>
          </a:xfrm>
          <a:prstGeom prst="rect">
            <a:avLst/>
          </a:prstGeom>
          <a:noFill/>
        </p:spPr>
        <p:txBody>
          <a:bodyPr wrap="square" rtlCol="0">
            <a:spAutoFit/>
          </a:bodyPr>
          <a:lstStyle/>
          <a:p>
            <a:pPr algn="ctr"/>
            <a:r>
              <a:rPr lang="en-US" dirty="0">
                <a:solidFill>
                  <a:schemeClr val="bg1"/>
                </a:solidFill>
              </a:rPr>
              <a:t>3</a:t>
            </a:r>
            <a:endParaRPr lang="en-IN" dirty="0">
              <a:solidFill>
                <a:schemeClr val="bg1"/>
              </a:solidFill>
            </a:endParaRPr>
          </a:p>
        </p:txBody>
      </p:sp>
      <p:sp>
        <p:nvSpPr>
          <p:cNvPr id="57" name="TextBox 56">
            <a:extLst>
              <a:ext uri="{FF2B5EF4-FFF2-40B4-BE49-F238E27FC236}">
                <a16:creationId xmlns:a16="http://schemas.microsoft.com/office/drawing/2014/main" id="{699EF151-F280-423E-929F-6B447CFCF84A}"/>
              </a:ext>
            </a:extLst>
          </p:cNvPr>
          <p:cNvSpPr txBox="1"/>
          <p:nvPr/>
        </p:nvSpPr>
        <p:spPr>
          <a:xfrm>
            <a:off x="4959026" y="5102545"/>
            <a:ext cx="355107" cy="372332"/>
          </a:xfrm>
          <a:prstGeom prst="rect">
            <a:avLst/>
          </a:prstGeom>
          <a:noFill/>
        </p:spPr>
        <p:txBody>
          <a:bodyPr wrap="square" rtlCol="0">
            <a:spAutoFit/>
          </a:bodyPr>
          <a:lstStyle/>
          <a:p>
            <a:pPr algn="ctr"/>
            <a:r>
              <a:rPr lang="en-US" dirty="0">
                <a:solidFill>
                  <a:schemeClr val="bg1"/>
                </a:solidFill>
              </a:rPr>
              <a:t>5</a:t>
            </a:r>
            <a:endParaRPr lang="en-IN" dirty="0">
              <a:solidFill>
                <a:schemeClr val="bg1"/>
              </a:solidFill>
            </a:endParaRPr>
          </a:p>
        </p:txBody>
      </p:sp>
      <p:sp>
        <p:nvSpPr>
          <p:cNvPr id="59" name="TextBox 58">
            <a:extLst>
              <a:ext uri="{FF2B5EF4-FFF2-40B4-BE49-F238E27FC236}">
                <a16:creationId xmlns:a16="http://schemas.microsoft.com/office/drawing/2014/main" id="{F1EC0104-6885-485A-842E-B62BEF445B7B}"/>
              </a:ext>
            </a:extLst>
          </p:cNvPr>
          <p:cNvSpPr txBox="1"/>
          <p:nvPr/>
        </p:nvSpPr>
        <p:spPr>
          <a:xfrm>
            <a:off x="8515162" y="5102545"/>
            <a:ext cx="355107" cy="372332"/>
          </a:xfrm>
          <a:prstGeom prst="rect">
            <a:avLst/>
          </a:prstGeom>
          <a:noFill/>
        </p:spPr>
        <p:txBody>
          <a:bodyPr wrap="square" rtlCol="0">
            <a:spAutoFit/>
          </a:bodyPr>
          <a:lstStyle/>
          <a:p>
            <a:pPr algn="ctr"/>
            <a:r>
              <a:rPr lang="en-US" dirty="0">
                <a:solidFill>
                  <a:schemeClr val="bg1"/>
                </a:solidFill>
              </a:rPr>
              <a:t>6</a:t>
            </a:r>
            <a:endParaRPr lang="en-IN" dirty="0">
              <a:solidFill>
                <a:schemeClr val="bg1"/>
              </a:solidFill>
            </a:endParaRPr>
          </a:p>
        </p:txBody>
      </p:sp>
      <p:sp>
        <p:nvSpPr>
          <p:cNvPr id="58" name="Rectangle: Rounded Corners 57">
            <a:extLst>
              <a:ext uri="{FF2B5EF4-FFF2-40B4-BE49-F238E27FC236}">
                <a16:creationId xmlns:a16="http://schemas.microsoft.com/office/drawing/2014/main" id="{01877F72-37F8-4C41-BD11-148222346D49}"/>
              </a:ext>
            </a:extLst>
          </p:cNvPr>
          <p:cNvSpPr/>
          <p:nvPr/>
        </p:nvSpPr>
        <p:spPr>
          <a:xfrm rot="16200000">
            <a:off x="-1724395" y="3567190"/>
            <a:ext cx="3932880" cy="33142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solidFill>
                <a:effectLst/>
                <a:latin typeface="Segoe UI" panose="020B0502040204020203" pitchFamily="34" charset="0"/>
                <a:cs typeface="Segoe UI" panose="020B0502040204020203" pitchFamily="34" charset="0"/>
              </a:rPr>
              <a:t>*Chatbot for self health assessments in current prototype stage</a:t>
            </a:r>
          </a:p>
        </p:txBody>
      </p:sp>
    </p:spTree>
    <p:extLst>
      <p:ext uri="{BB962C8B-B14F-4D97-AF65-F5344CB8AC3E}">
        <p14:creationId xmlns:p14="http://schemas.microsoft.com/office/powerpoint/2010/main" val="2194553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01</TotalTime>
  <Words>2639</Words>
  <Application>Microsoft Office PowerPoint</Application>
  <PresentationFormat>Widescreen</PresentationFormat>
  <Paragraphs>95</Paragraphs>
  <Slides>10</Slides>
  <Notes>10</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0</vt:i4>
      </vt:variant>
    </vt:vector>
  </HeadingPairs>
  <TitlesOfParts>
    <vt:vector size="21" baseType="lpstr">
      <vt:lpstr>Arial</vt:lpstr>
      <vt:lpstr>Calibri</vt:lpstr>
      <vt:lpstr>Calibri Light</vt:lpstr>
      <vt:lpstr>Century Gothic</vt:lpstr>
      <vt:lpstr>Segoe UI</vt:lpstr>
      <vt:lpstr>1_Office Theme</vt:lpstr>
      <vt:lpstr>Office Theme</vt:lpstr>
      <vt:lpstr>2_Office Theme</vt:lpstr>
      <vt:lpstr>3_Office Theme</vt:lpstr>
      <vt:lpstr>4_Office Theme</vt:lpstr>
      <vt:lpstr>think-cell Slide</vt:lpstr>
      <vt:lpstr>Chhatra Vishwakarma Awards 2020  Team: Lazarus Application Id: VISH202011475 </vt:lpstr>
      <vt:lpstr>PROBLEM/OPPORT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hatra Vishwakarma Awards 2020 Team: Lazarus</dc:title>
  <dc:creator>K M Rahaman</dc:creator>
  <cp:lastModifiedBy>K M Rahaman</cp:lastModifiedBy>
  <cp:revision>116</cp:revision>
  <dcterms:created xsi:type="dcterms:W3CDTF">2021-02-22T04:55:04Z</dcterms:created>
  <dcterms:modified xsi:type="dcterms:W3CDTF">2021-08-05T11:17:57Z</dcterms:modified>
</cp:coreProperties>
</file>